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73" r:id="rId1"/>
  </p:sldMasterIdLst>
  <p:notesMasterIdLst>
    <p:notesMasterId r:id="rId62"/>
  </p:notesMasterIdLst>
  <p:sldIdLst>
    <p:sldId id="256" r:id="rId2"/>
    <p:sldId id="268" r:id="rId3"/>
    <p:sldId id="269" r:id="rId4"/>
    <p:sldId id="270" r:id="rId5"/>
    <p:sldId id="271" r:id="rId6"/>
    <p:sldId id="272" r:id="rId7"/>
    <p:sldId id="322" r:id="rId8"/>
    <p:sldId id="274" r:id="rId9"/>
    <p:sldId id="275" r:id="rId10"/>
    <p:sldId id="276" r:id="rId11"/>
    <p:sldId id="277" r:id="rId12"/>
    <p:sldId id="278" r:id="rId13"/>
    <p:sldId id="279" r:id="rId14"/>
    <p:sldId id="323" r:id="rId15"/>
    <p:sldId id="280" r:id="rId16"/>
    <p:sldId id="281" r:id="rId17"/>
    <p:sldId id="324" r:id="rId18"/>
    <p:sldId id="282" r:id="rId19"/>
    <p:sldId id="283" r:id="rId20"/>
    <p:sldId id="284" r:id="rId21"/>
    <p:sldId id="285" r:id="rId22"/>
    <p:sldId id="286" r:id="rId23"/>
    <p:sldId id="287" r:id="rId24"/>
    <p:sldId id="288" r:id="rId25"/>
    <p:sldId id="289" r:id="rId26"/>
    <p:sldId id="290" r:id="rId27"/>
    <p:sldId id="291" r:id="rId28"/>
    <p:sldId id="292" r:id="rId29"/>
    <p:sldId id="293" r:id="rId30"/>
    <p:sldId id="294" r:id="rId31"/>
    <p:sldId id="295" r:id="rId32"/>
    <p:sldId id="296" r:id="rId33"/>
    <p:sldId id="297" r:id="rId34"/>
    <p:sldId id="298" r:id="rId35"/>
    <p:sldId id="299" r:id="rId36"/>
    <p:sldId id="325" r:id="rId37"/>
    <p:sldId id="326" r:id="rId38"/>
    <p:sldId id="300" r:id="rId39"/>
    <p:sldId id="301" r:id="rId40"/>
    <p:sldId id="302" r:id="rId41"/>
    <p:sldId id="303" r:id="rId42"/>
    <p:sldId id="314" r:id="rId43"/>
    <p:sldId id="315" r:id="rId44"/>
    <p:sldId id="304" r:id="rId45"/>
    <p:sldId id="305" r:id="rId46"/>
    <p:sldId id="306" r:id="rId47"/>
    <p:sldId id="307" r:id="rId48"/>
    <p:sldId id="308" r:id="rId49"/>
    <p:sldId id="309" r:id="rId50"/>
    <p:sldId id="310" r:id="rId51"/>
    <p:sldId id="311" r:id="rId52"/>
    <p:sldId id="312" r:id="rId53"/>
    <p:sldId id="313" r:id="rId54"/>
    <p:sldId id="316" r:id="rId55"/>
    <p:sldId id="317" r:id="rId56"/>
    <p:sldId id="319" r:id="rId57"/>
    <p:sldId id="320" r:id="rId58"/>
    <p:sldId id="321" r:id="rId59"/>
    <p:sldId id="266" r:id="rId60"/>
    <p:sldId id="267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18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4660"/>
  </p:normalViewPr>
  <p:slideViewPr>
    <p:cSldViewPr snapToGrid="0">
      <p:cViewPr varScale="1">
        <p:scale>
          <a:sx n="73" d="100"/>
          <a:sy n="73" d="100"/>
        </p:scale>
        <p:origin x="6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tableStyles" Target="tableStyle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343543-8963-479D-BD89-07DB8B8D6D5F}" type="datetimeFigureOut">
              <a:rPr lang="en-US" smtClean="0"/>
              <a:t>1/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F390927-A8DF-482E-8E8E-EDB3BCB11E8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377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390927-A8DF-482E-8E8E-EDB3BCB11E8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5806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390927-A8DF-482E-8E8E-EDB3BCB11E8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9761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390927-A8DF-482E-8E8E-EDB3BCB11E8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9735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microsoft.com/office/2007/relationships/hdphoto" Target="../media/hdphoto2.wdp"/><Relationship Id="rId5" Type="http://schemas.openxmlformats.org/officeDocument/2006/relationships/image" Target="../media/image3.png"/><Relationship Id="rId4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AC64DFBE-D021-44BF-84ED-0689DA97925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" y="3909117"/>
            <a:ext cx="12191999" cy="576000"/>
          </a:xfrm>
          <a:prstGeom prst="rect">
            <a:avLst/>
          </a:prstGeom>
        </p:spPr>
        <p:txBody>
          <a:bodyPr lIns="108000" anchor="ctr"/>
          <a:lstStyle>
            <a:lvl1pPr marL="0" indent="0" algn="ctr">
              <a:buNone/>
              <a:defRPr sz="1600" b="1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n-lt"/>
                <a:cs typeface="B Titr" panose="00000700000000000000" pitchFamily="2" charset="-78"/>
              </a:defRPr>
            </a:lvl1pPr>
          </a:lstStyle>
          <a:p>
            <a:pPr lvl="0"/>
            <a:r>
              <a:rPr lang="fa-IR" altLang="ko-KR" dirty="0"/>
              <a:t>محل برگزاری</a:t>
            </a:r>
          </a:p>
        </p:txBody>
      </p:sp>
      <p:sp>
        <p:nvSpPr>
          <p:cNvPr id="9" name="제목 1">
            <a:extLst>
              <a:ext uri="{FF2B5EF4-FFF2-40B4-BE49-F238E27FC236}">
                <a16:creationId xmlns:a16="http://schemas.microsoft.com/office/drawing/2014/main" id="{68088BE3-25C4-4317-8E12-7D1A9D0903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" y="3189117"/>
            <a:ext cx="12191997" cy="720000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+mj-lt"/>
                <a:cs typeface="B Titr" panose="00000700000000000000" pitchFamily="2" charset="-78"/>
              </a:defRPr>
            </a:lvl1pPr>
          </a:lstStyle>
          <a:p>
            <a:r>
              <a:rPr lang="fa-IR" altLang="ko-KR" dirty="0"/>
              <a:t>عنوان کارگاه</a:t>
            </a:r>
            <a:endParaRPr lang="ko-KR" alt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526294" y="4485117"/>
            <a:ext cx="3139413" cy="1219200"/>
          </a:xfrm>
          <a:prstGeom prst="rect">
            <a:avLst/>
          </a:prstGeom>
        </p:spPr>
        <p:txBody>
          <a:bodyPr/>
          <a:lstStyle>
            <a:lvl1pPr marL="0" indent="0" algn="ctr" rtl="1">
              <a:buFont typeface="Arial" panose="020B0604020202020204" pitchFamily="34" charset="0"/>
              <a:buNone/>
              <a:defRPr sz="2667" baseline="0">
                <a:solidFill>
                  <a:srgbClr val="404040"/>
                </a:solidFill>
                <a:cs typeface="+mj-cs"/>
              </a:defRPr>
            </a:lvl1pPr>
            <a:lvl2pPr marL="609585" indent="0" algn="ctr" rtl="1">
              <a:buFontTx/>
              <a:buNone/>
              <a:defRPr sz="2133">
                <a:solidFill>
                  <a:srgbClr val="404040"/>
                </a:solidFill>
                <a:cs typeface="+mj-cs"/>
              </a:defRPr>
            </a:lvl2pPr>
          </a:lstStyle>
          <a:p>
            <a:pPr lvl="0"/>
            <a:r>
              <a:rPr lang="fa-IR" dirty="0"/>
              <a:t>افراد درگیر</a:t>
            </a:r>
          </a:p>
          <a:p>
            <a:pPr lvl="0"/>
            <a:r>
              <a:rPr lang="fa-IR" dirty="0"/>
              <a:t>نفر اول</a:t>
            </a:r>
          </a:p>
          <a:p>
            <a:pPr lvl="0"/>
            <a:r>
              <a:rPr lang="fa-IR" dirty="0"/>
              <a:t>نفر دوم</a:t>
            </a:r>
            <a:endParaRPr lang="en-GB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693" y="-57838"/>
            <a:ext cx="1860881" cy="1860881"/>
          </a:xfrm>
          <a:prstGeom prst="rect">
            <a:avLst/>
          </a:prstGeom>
        </p:spPr>
      </p:pic>
      <p:pic>
        <p:nvPicPr>
          <p:cNvPr id="5122" name="Picture 2" descr="Image result for ‫موسسه ملی تحقیقات سلامت لوگو‬‎"/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55078" y1="61154" x2="55078" y2="61154"/>
                        <a14:foregroundMark x1="34375" y1="63077" x2="34375" y2="63077"/>
                        <a14:foregroundMark x1="46094" y1="69615" x2="46094" y2="69615"/>
                        <a14:foregroundMark x1="76563" y1="58077" x2="76563" y2="58077"/>
                        <a14:foregroundMark x1="68750" y1="61154" x2="58203" y2="76538"/>
                        <a14:foregroundMark x1="29688" y1="59615" x2="69922" y2="60385"/>
                        <a14:foregroundMark x1="24609" y1="59615" x2="39453" y2="74615"/>
                        <a14:foregroundMark x1="19531" y1="63077" x2="44141" y2="78077"/>
                        <a14:foregroundMark x1="45313" y1="81538" x2="72656" y2="59615"/>
                        <a14:foregroundMark x1="20703" y1="55385" x2="28516" y2="73846"/>
                        <a14:foregroundMark x1="23828" y1="70385" x2="40234" y2="79615"/>
                        <a14:backgroundMark x1="81641" y1="21154" x2="81641" y2="211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0330" y="1"/>
            <a:ext cx="1430140" cy="1675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93" b="89286" l="1333" r="98667">
                        <a14:foregroundMark x1="50667" y1="20982" x2="50667" y2="20982"/>
                        <a14:foregroundMark x1="51556" y1="38839" x2="51556" y2="38839"/>
                        <a14:foregroundMark x1="40444" y1="36607" x2="61778" y2="14286"/>
                        <a14:foregroundMark x1="31111" y1="50893" x2="79556" y2="51786"/>
                        <a14:foregroundMark x1="13778" y1="73214" x2="86667" y2="70536"/>
                        <a14:foregroundMark x1="40444" y1="37946" x2="34667" y2="8929"/>
                        <a14:foregroundMark x1="65333" y1="42411" x2="67111" y2="9821"/>
                        <a14:foregroundMark x1="24000" y1="21875" x2="67556" y2="15179"/>
                        <a14:foregroundMark x1="34667" y1="37500" x2="28444" y2="1339"/>
                        <a14:foregroundMark x1="29333" y1="56250" x2="84889" y2="60268"/>
                        <a14:foregroundMark x1="13333" y1="65625" x2="60889" y2="66518"/>
                        <a14:foregroundMark x1="84000" y1="81250" x2="73778" y2="64732"/>
                        <a14:foregroundMark x1="72889" y1="76786" x2="32000" y2="69196"/>
                        <a14:foregroundMark x1="48000" y1="77679" x2="5333" y2="62054"/>
                        <a14:foregroundMark x1="24000" y1="77679" x2="3556" y2="66518"/>
                        <a14:foregroundMark x1="78222" y1="46875" x2="22667" y2="45089"/>
                        <a14:foregroundMark x1="30222" y1="9821" x2="36000" y2="39732"/>
                        <a14:foregroundMark x1="62667" y1="7143" x2="76444" y2="40625"/>
                        <a14:foregroundMark x1="71111" y1="11607" x2="68444" y2="28571"/>
                        <a14:foregroundMark x1="58222" y1="4018" x2="46222" y2="4018"/>
                        <a14:foregroundMark x1="30222" y1="8929" x2="27556" y2="39732"/>
                        <a14:foregroundMark x1="85778" y1="66518" x2="98667" y2="70089"/>
                        <a14:foregroundMark x1="86667" y1="74107" x2="98667" y2="74107"/>
                        <a14:foregroundMark x1="43111" y1="79464" x2="1333" y2="71429"/>
                        <a14:foregroundMark x1="19111" y1="78571" x2="17333" y2="77679"/>
                        <a14:foregroundMark x1="5333" y1="76786" x2="5333" y2="76786"/>
                        <a14:foregroundMark x1="8889" y1="75893" x2="8889" y2="75893"/>
                        <a14:foregroundMark x1="6222" y1="81250" x2="6222" y2="81250"/>
                        <a14:foregroundMark x1="2667" y1="77679" x2="2667" y2="77679"/>
                        <a14:foregroundMark x1="2667" y1="77679" x2="2667" y2="77679"/>
                        <a14:foregroundMark x1="2667" y1="78571" x2="20000" y2="78571"/>
                        <a14:foregroundMark x1="10667" y1="80357" x2="3556" y2="647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10320470" y="35276"/>
            <a:ext cx="1647863" cy="164053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C9303746-87FD-4C2A-8425-3BD14AB244AB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614621" y="0"/>
            <a:ext cx="1209675" cy="154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0103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عنوان با شماره بند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815413" y="452670"/>
            <a:ext cx="10559819" cy="1035373"/>
          </a:xfrm>
          <a:prstGeom prst="rect">
            <a:avLst/>
          </a:prstGeom>
        </p:spPr>
        <p:txBody>
          <a:bodyPr anchor="ctr"/>
          <a:lstStyle>
            <a:lvl1pPr algn="r" rtl="1">
              <a:defRPr sz="4800" b="1" baseline="0">
                <a:solidFill>
                  <a:schemeClr val="accent1"/>
                </a:solidFill>
                <a:latin typeface="+mj-lt"/>
                <a:cs typeface="+mj-cs"/>
              </a:defRPr>
            </a:lvl1pPr>
          </a:lstStyle>
          <a:p>
            <a:r>
              <a:rPr lang="fa-IR" altLang="ko-KR" dirty="0"/>
              <a:t>عنوان</a:t>
            </a:r>
            <a:endParaRPr lang="ko-KR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814917" y="1989667"/>
            <a:ext cx="10464800" cy="4607984"/>
          </a:xfrm>
          <a:prstGeom prst="rect">
            <a:avLst/>
          </a:prstGeom>
        </p:spPr>
        <p:txBody>
          <a:bodyPr/>
          <a:lstStyle>
            <a:lvl1pPr marL="609585" indent="-609585" algn="r" rtl="1">
              <a:buFont typeface="+mj-lt"/>
              <a:buAutoNum type="arabicPeriod"/>
              <a:defRPr sz="3200" baseline="0">
                <a:solidFill>
                  <a:schemeClr val="tx1"/>
                </a:solidFill>
              </a:defRPr>
            </a:lvl1pPr>
            <a:lvl2pPr marL="1219170" indent="-609585" algn="r" rtl="1">
              <a:buFont typeface="+mj-lt"/>
              <a:buAutoNum type="arabicPeriod"/>
              <a:defRPr sz="2667" baseline="0"/>
            </a:lvl2pPr>
            <a:lvl3pPr marL="1676358" indent="-457189" algn="r" rtl="1">
              <a:buFont typeface="+mj-lt"/>
              <a:buAutoNum type="arabicPeriod"/>
              <a:defRPr sz="2400"/>
            </a:lvl3pPr>
            <a:lvl4pPr marL="2285943" indent="-457189" algn="r" rtl="1">
              <a:buFont typeface="+mj-lt"/>
              <a:buAutoNum type="arabicPeriod"/>
              <a:defRPr sz="2133" baseline="0"/>
            </a:lvl4pPr>
            <a:lvl5pPr algn="r" rtl="1">
              <a:defRPr/>
            </a:lvl5pPr>
          </a:lstStyle>
          <a:p>
            <a:pPr lvl="0"/>
            <a:r>
              <a:rPr lang="fa-IR" dirty="0"/>
              <a:t>سطح 1</a:t>
            </a:r>
            <a:endParaRPr lang="en-US" dirty="0"/>
          </a:p>
          <a:p>
            <a:pPr lvl="1"/>
            <a:r>
              <a:rPr lang="fa-IR" dirty="0"/>
              <a:t>سطح 2</a:t>
            </a:r>
            <a:endParaRPr lang="en-US" dirty="0"/>
          </a:p>
          <a:p>
            <a:pPr lvl="2"/>
            <a:r>
              <a:rPr lang="fa-IR" dirty="0"/>
              <a:t>سطح3</a:t>
            </a:r>
            <a:endParaRPr lang="en-US" dirty="0"/>
          </a:p>
          <a:p>
            <a:pPr lvl="3"/>
            <a:r>
              <a:rPr lang="fa-IR" dirty="0"/>
              <a:t>سطح 4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339" y="6141838"/>
            <a:ext cx="1056117" cy="461061"/>
          </a:xfrm>
          <a:prstGeom prst="rect">
            <a:avLst/>
          </a:prstGeom>
        </p:spPr>
        <p:txBody>
          <a:bodyPr/>
          <a:lstStyle/>
          <a:p>
            <a:fld id="{71766878-3199-4EAB-94E7-2D6D11070E14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10921979" y="6424323"/>
            <a:ext cx="1056117" cy="46106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a-IR" sz="1333" dirty="0"/>
              <a:t>ارایه</a:t>
            </a:r>
            <a:r>
              <a:rPr lang="fa-IR" sz="1333" baseline="0" dirty="0"/>
              <a:t> دهنده:</a:t>
            </a:r>
            <a:endParaRPr lang="en-US" sz="1333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589B0CF-F197-4F5E-9973-113BDE58B5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968" y="4997479"/>
            <a:ext cx="1015643" cy="1015643"/>
          </a:xfrm>
          <a:prstGeom prst="rect">
            <a:avLst/>
          </a:prstGeom>
        </p:spPr>
      </p:pic>
      <p:pic>
        <p:nvPicPr>
          <p:cNvPr id="17" name="Picture 2" descr="Image result for ‫موسسه ملی تحقیقات سلامت لوگو‬‎">
            <a:extLst>
              <a:ext uri="{FF2B5EF4-FFF2-40B4-BE49-F238E27FC236}">
                <a16:creationId xmlns:a16="http://schemas.microsoft.com/office/drawing/2014/main" id="{9FC389A2-C3C2-4669-BF6E-9D257DF9877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55078" y1="61154" x2="55078" y2="61154"/>
                        <a14:foregroundMark x1="34375" y1="63077" x2="34375" y2="63077"/>
                        <a14:foregroundMark x1="46094" y1="69615" x2="46094" y2="69615"/>
                        <a14:foregroundMark x1="76563" y1="58077" x2="76563" y2="58077"/>
                        <a14:foregroundMark x1="68750" y1="61154" x2="58203" y2="76538"/>
                        <a14:foregroundMark x1="29688" y1="59615" x2="69922" y2="60385"/>
                        <a14:foregroundMark x1="24609" y1="59615" x2="39453" y2="74615"/>
                        <a14:foregroundMark x1="19531" y1="63077" x2="44141" y2="78077"/>
                        <a14:foregroundMark x1="45313" y1="81538" x2="72656" y2="59615"/>
                        <a14:foregroundMark x1="20703" y1="55385" x2="28516" y2="73846"/>
                        <a14:foregroundMark x1="23828" y1="70385" x2="40234" y2="79615"/>
                        <a14:backgroundMark x1="81641" y1="21154" x2="81641" y2="211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387" y="3091571"/>
            <a:ext cx="1200480" cy="140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D9FCAA1-3E44-4450-BCA0-822F21435D1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93" b="89286" l="1333" r="98667">
                        <a14:foregroundMark x1="50667" y1="20982" x2="50667" y2="20982"/>
                        <a14:foregroundMark x1="51556" y1="38839" x2="51556" y2="38839"/>
                        <a14:foregroundMark x1="40444" y1="36607" x2="61778" y2="14286"/>
                        <a14:foregroundMark x1="31111" y1="50893" x2="79556" y2="51786"/>
                        <a14:foregroundMark x1="13778" y1="73214" x2="86667" y2="70536"/>
                        <a14:foregroundMark x1="40444" y1="37946" x2="34667" y2="8929"/>
                        <a14:foregroundMark x1="65333" y1="42411" x2="67111" y2="9821"/>
                        <a14:foregroundMark x1="24000" y1="21875" x2="67556" y2="15179"/>
                        <a14:foregroundMark x1="34667" y1="37500" x2="28444" y2="1339"/>
                        <a14:foregroundMark x1="29333" y1="56250" x2="84889" y2="60268"/>
                        <a14:foregroundMark x1="13333" y1="65625" x2="60889" y2="66518"/>
                        <a14:foregroundMark x1="84000" y1="81250" x2="73778" y2="64732"/>
                        <a14:foregroundMark x1="72889" y1="76786" x2="32000" y2="69196"/>
                        <a14:foregroundMark x1="48000" y1="77679" x2="5333" y2="62054"/>
                        <a14:foregroundMark x1="24000" y1="77679" x2="3556" y2="66518"/>
                        <a14:foregroundMark x1="78222" y1="46875" x2="22667" y2="45089"/>
                        <a14:foregroundMark x1="30222" y1="9821" x2="36000" y2="39732"/>
                        <a14:foregroundMark x1="62667" y1="7143" x2="76444" y2="40625"/>
                        <a14:foregroundMark x1="71111" y1="11607" x2="68444" y2="28571"/>
                        <a14:foregroundMark x1="58222" y1="4018" x2="46222" y2="4018"/>
                        <a14:foregroundMark x1="30222" y1="8929" x2="27556" y2="39732"/>
                        <a14:foregroundMark x1="85778" y1="66518" x2="98667" y2="70089"/>
                        <a14:foregroundMark x1="86667" y1="74107" x2="98667" y2="74107"/>
                        <a14:foregroundMark x1="43111" y1="79464" x2="1333" y2="71429"/>
                        <a14:foregroundMark x1="19111" y1="78571" x2="17333" y2="77679"/>
                        <a14:foregroundMark x1="5333" y1="76786" x2="5333" y2="76786"/>
                        <a14:foregroundMark x1="8889" y1="75893" x2="8889" y2="75893"/>
                        <a14:foregroundMark x1="6222" y1="81250" x2="6222" y2="81250"/>
                        <a14:foregroundMark x1="2667" y1="77679" x2="2667" y2="77679"/>
                        <a14:foregroundMark x1="2667" y1="77679" x2="2667" y2="77679"/>
                        <a14:foregroundMark x1="2667" y1="78571" x2="20000" y2="78571"/>
                        <a14:foregroundMark x1="10667" y1="80357" x2="3556" y2="647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63" y="355600"/>
            <a:ext cx="899380" cy="89538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082D7FE8-BAE8-4039-9B4F-CE6B0B4CB06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24741" y="1750189"/>
            <a:ext cx="660224" cy="84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9616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عنوان با بولت پوینت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815413" y="452670"/>
            <a:ext cx="10559819" cy="1035373"/>
          </a:xfrm>
          <a:prstGeom prst="rect">
            <a:avLst/>
          </a:prstGeom>
        </p:spPr>
        <p:txBody>
          <a:bodyPr anchor="ctr"/>
          <a:lstStyle>
            <a:lvl1pPr algn="r" rtl="1">
              <a:defRPr sz="4800" b="1" baseline="0">
                <a:solidFill>
                  <a:schemeClr val="accent1"/>
                </a:solidFill>
                <a:latin typeface="+mj-lt"/>
                <a:cs typeface="+mj-cs"/>
              </a:defRPr>
            </a:lvl1pPr>
          </a:lstStyle>
          <a:p>
            <a:r>
              <a:rPr lang="fa-IR" altLang="ko-KR" dirty="0"/>
              <a:t>عنوان</a:t>
            </a:r>
            <a:endParaRPr lang="ko-KR" alt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814917" y="1989667"/>
            <a:ext cx="10464800" cy="4607984"/>
          </a:xfrm>
          <a:prstGeom prst="rect">
            <a:avLst/>
          </a:prstGeom>
        </p:spPr>
        <p:txBody>
          <a:bodyPr/>
          <a:lstStyle>
            <a:lvl1pPr algn="r" rtl="1">
              <a:defRPr sz="3200" baseline="0">
                <a:solidFill>
                  <a:schemeClr val="tx1"/>
                </a:solidFill>
              </a:defRPr>
            </a:lvl1pPr>
            <a:lvl2pPr algn="r" rtl="1">
              <a:defRPr sz="2667" baseline="0"/>
            </a:lvl2pPr>
            <a:lvl3pPr marL="1523962" indent="-304792" algn="r" rtl="1">
              <a:buFont typeface="Courier New" panose="02070309020205020404" pitchFamily="49" charset="0"/>
              <a:buChar char="o"/>
              <a:defRPr sz="2400"/>
            </a:lvl3pPr>
            <a:lvl4pPr algn="r" rtl="1">
              <a:defRPr sz="2133" baseline="0"/>
            </a:lvl4pPr>
            <a:lvl5pPr algn="r" rtl="1">
              <a:defRPr/>
            </a:lvl5pPr>
          </a:lstStyle>
          <a:p>
            <a:pPr lvl="0"/>
            <a:r>
              <a:rPr lang="fa-IR" dirty="0"/>
              <a:t>سطح 1</a:t>
            </a:r>
            <a:endParaRPr lang="en-US" dirty="0"/>
          </a:p>
          <a:p>
            <a:pPr lvl="1"/>
            <a:r>
              <a:rPr lang="fa-IR" dirty="0"/>
              <a:t>سطح 2</a:t>
            </a:r>
            <a:endParaRPr lang="en-US" dirty="0"/>
          </a:p>
          <a:p>
            <a:pPr lvl="2"/>
            <a:r>
              <a:rPr lang="fa-IR" dirty="0"/>
              <a:t>سطح3</a:t>
            </a:r>
            <a:endParaRPr lang="en-US" dirty="0"/>
          </a:p>
          <a:p>
            <a:pPr lvl="3"/>
            <a:r>
              <a:rPr lang="fa-IR" dirty="0"/>
              <a:t>سطح 4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339" y="6141838"/>
            <a:ext cx="1056117" cy="461061"/>
          </a:xfrm>
          <a:prstGeom prst="rect">
            <a:avLst/>
          </a:prstGeom>
        </p:spPr>
        <p:txBody>
          <a:bodyPr/>
          <a:lstStyle/>
          <a:p>
            <a:fld id="{71766878-3199-4EAB-94E7-2D6D11070E14}" type="slidenum">
              <a:rPr lang="en-US" dirty="0"/>
              <a:t>‹#›</a:t>
            </a:fld>
            <a:endParaRPr lang="en-US" dirty="0"/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10921979" y="6424323"/>
            <a:ext cx="1056117" cy="46106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a-IR" sz="1333" dirty="0"/>
              <a:t>ارایه</a:t>
            </a:r>
            <a:r>
              <a:rPr lang="fa-IR" sz="1333" baseline="0" dirty="0"/>
              <a:t> دهنده:</a:t>
            </a:r>
            <a:endParaRPr lang="en-US" sz="1333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82A11A9-6444-4761-8DC6-1965C15475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968" y="4997479"/>
            <a:ext cx="1015643" cy="1015643"/>
          </a:xfrm>
          <a:prstGeom prst="rect">
            <a:avLst/>
          </a:prstGeom>
        </p:spPr>
      </p:pic>
      <p:pic>
        <p:nvPicPr>
          <p:cNvPr id="9" name="Picture 2" descr="Image result for ‫موسسه ملی تحقیقات سلامت لوگو‬‎">
            <a:extLst>
              <a:ext uri="{FF2B5EF4-FFF2-40B4-BE49-F238E27FC236}">
                <a16:creationId xmlns:a16="http://schemas.microsoft.com/office/drawing/2014/main" id="{B2227D77-39A7-4022-8BCB-20784463012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55078" y1="61154" x2="55078" y2="61154"/>
                        <a14:foregroundMark x1="34375" y1="63077" x2="34375" y2="63077"/>
                        <a14:foregroundMark x1="46094" y1="69615" x2="46094" y2="69615"/>
                        <a14:foregroundMark x1="76563" y1="58077" x2="76563" y2="58077"/>
                        <a14:foregroundMark x1="68750" y1="61154" x2="58203" y2="76538"/>
                        <a14:foregroundMark x1="29688" y1="59615" x2="69922" y2="60385"/>
                        <a14:foregroundMark x1="24609" y1="59615" x2="39453" y2="74615"/>
                        <a14:foregroundMark x1="19531" y1="63077" x2="44141" y2="78077"/>
                        <a14:foregroundMark x1="45313" y1="81538" x2="72656" y2="59615"/>
                        <a14:foregroundMark x1="20703" y1="55385" x2="28516" y2="73846"/>
                        <a14:foregroundMark x1="23828" y1="70385" x2="40234" y2="79615"/>
                        <a14:backgroundMark x1="81641" y1="21154" x2="81641" y2="211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387" y="3091571"/>
            <a:ext cx="1200480" cy="140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A0F860C-DBA2-4BDE-925B-E0A83259A1D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93" b="89286" l="1333" r="98667">
                        <a14:foregroundMark x1="50667" y1="20982" x2="50667" y2="20982"/>
                        <a14:foregroundMark x1="51556" y1="38839" x2="51556" y2="38839"/>
                        <a14:foregroundMark x1="40444" y1="36607" x2="61778" y2="14286"/>
                        <a14:foregroundMark x1="31111" y1="50893" x2="79556" y2="51786"/>
                        <a14:foregroundMark x1="13778" y1="73214" x2="86667" y2="70536"/>
                        <a14:foregroundMark x1="40444" y1="37946" x2="34667" y2="8929"/>
                        <a14:foregroundMark x1="65333" y1="42411" x2="67111" y2="9821"/>
                        <a14:foregroundMark x1="24000" y1="21875" x2="67556" y2="15179"/>
                        <a14:foregroundMark x1="34667" y1="37500" x2="28444" y2="1339"/>
                        <a14:foregroundMark x1="29333" y1="56250" x2="84889" y2="60268"/>
                        <a14:foregroundMark x1="13333" y1="65625" x2="60889" y2="66518"/>
                        <a14:foregroundMark x1="84000" y1="81250" x2="73778" y2="64732"/>
                        <a14:foregroundMark x1="72889" y1="76786" x2="32000" y2="69196"/>
                        <a14:foregroundMark x1="48000" y1="77679" x2="5333" y2="62054"/>
                        <a14:foregroundMark x1="24000" y1="77679" x2="3556" y2="66518"/>
                        <a14:foregroundMark x1="78222" y1="46875" x2="22667" y2="45089"/>
                        <a14:foregroundMark x1="30222" y1="9821" x2="36000" y2="39732"/>
                        <a14:foregroundMark x1="62667" y1="7143" x2="76444" y2="40625"/>
                        <a14:foregroundMark x1="71111" y1="11607" x2="68444" y2="28571"/>
                        <a14:foregroundMark x1="58222" y1="4018" x2="46222" y2="4018"/>
                        <a14:foregroundMark x1="30222" y1="8929" x2="27556" y2="39732"/>
                        <a14:foregroundMark x1="85778" y1="66518" x2="98667" y2="70089"/>
                        <a14:foregroundMark x1="86667" y1="74107" x2="98667" y2="74107"/>
                        <a14:foregroundMark x1="43111" y1="79464" x2="1333" y2="71429"/>
                        <a14:foregroundMark x1="19111" y1="78571" x2="17333" y2="77679"/>
                        <a14:foregroundMark x1="5333" y1="76786" x2="5333" y2="76786"/>
                        <a14:foregroundMark x1="8889" y1="75893" x2="8889" y2="75893"/>
                        <a14:foregroundMark x1="6222" y1="81250" x2="6222" y2="81250"/>
                        <a14:foregroundMark x1="2667" y1="77679" x2="2667" y2="77679"/>
                        <a14:foregroundMark x1="2667" y1="77679" x2="2667" y2="77679"/>
                        <a14:foregroundMark x1="2667" y1="78571" x2="20000" y2="78571"/>
                        <a14:foregroundMark x1="10667" y1="80357" x2="3556" y2="647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63" y="355600"/>
            <a:ext cx="899380" cy="89538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7F7DA0C-1852-43D7-BB7C-D64C37BF667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24741" y="1750189"/>
            <a:ext cx="660224" cy="84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726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عنوان با دوستون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672063" y="1892300"/>
            <a:ext cx="4702903" cy="4512733"/>
          </a:xfrm>
          <a:prstGeom prst="rect">
            <a:avLst/>
          </a:prstGeom>
        </p:spPr>
        <p:txBody>
          <a:bodyPr numCol="1" rtlCol="1"/>
          <a:lstStyle>
            <a:lvl1pPr marL="0" indent="0" algn="r" rtl="1">
              <a:buNone/>
              <a:defRPr sz="3733" baseline="0"/>
            </a:lvl1pPr>
          </a:lstStyle>
          <a:p>
            <a:pPr lvl="0"/>
            <a:r>
              <a:rPr lang="fa-IR" dirty="0"/>
              <a:t>ستون اول</a:t>
            </a:r>
          </a:p>
          <a:p>
            <a:pPr lvl="0"/>
            <a:endParaRPr lang="en-GB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1391478" y="1892300"/>
            <a:ext cx="4702903" cy="4512733"/>
          </a:xfrm>
          <a:prstGeom prst="rect">
            <a:avLst/>
          </a:prstGeom>
        </p:spPr>
        <p:txBody>
          <a:bodyPr numCol="1" rtlCol="1"/>
          <a:lstStyle>
            <a:lvl1pPr marL="0" indent="0" algn="r" rtl="1">
              <a:buNone/>
              <a:defRPr sz="3733" baseline="0"/>
            </a:lvl1pPr>
          </a:lstStyle>
          <a:p>
            <a:pPr lvl="0"/>
            <a:r>
              <a:rPr lang="fa-IR" dirty="0"/>
              <a:t>ستون دوم</a:t>
            </a:r>
          </a:p>
          <a:p>
            <a:pPr lvl="0"/>
            <a:endParaRPr lang="en-GB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/>
          <a:lstStyle>
            <a:lvl1pPr algn="r" rtl="1">
              <a:defRPr>
                <a:solidFill>
                  <a:schemeClr val="accent1"/>
                </a:solidFill>
              </a:defRPr>
            </a:lvl1pPr>
          </a:lstStyle>
          <a:p>
            <a:r>
              <a:rPr lang="fa-IR" dirty="0"/>
              <a:t>عنوان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339" y="6141838"/>
            <a:ext cx="1056117" cy="461061"/>
          </a:xfrm>
          <a:prstGeom prst="rect">
            <a:avLst/>
          </a:prstGeom>
        </p:spPr>
        <p:txBody>
          <a:bodyPr/>
          <a:lstStyle/>
          <a:p>
            <a:fld id="{71766878-3199-4EAB-94E7-2D6D11070E14}" type="slidenum">
              <a:rPr lang="en-US" dirty="0"/>
              <a:t>‹#›</a:t>
            </a:fld>
            <a:endParaRPr lang="en-US" dirty="0"/>
          </a:p>
        </p:txBody>
      </p:sp>
      <p:sp>
        <p:nvSpPr>
          <p:cNvPr id="17" name="Slide Number Placeholder 5"/>
          <p:cNvSpPr txBox="1">
            <a:spLocks/>
          </p:cNvSpPr>
          <p:nvPr userDrawn="1"/>
        </p:nvSpPr>
        <p:spPr>
          <a:xfrm>
            <a:off x="10921979" y="6424323"/>
            <a:ext cx="1056117" cy="46106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a-IR" sz="1333" dirty="0"/>
              <a:t>ارایه</a:t>
            </a:r>
            <a:r>
              <a:rPr lang="fa-IR" sz="1333" baseline="0" dirty="0"/>
              <a:t> دهنده:</a:t>
            </a:r>
            <a:endParaRPr lang="en-US" sz="1333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D7323E69-487A-4F76-94CA-53DCE8E135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2968" y="4997479"/>
            <a:ext cx="1015643" cy="1015643"/>
          </a:xfrm>
          <a:prstGeom prst="rect">
            <a:avLst/>
          </a:prstGeom>
        </p:spPr>
      </p:pic>
      <p:pic>
        <p:nvPicPr>
          <p:cNvPr id="16" name="Picture 2" descr="Image result for ‫موسسه ملی تحقیقات سلامت لوگو‬‎">
            <a:extLst>
              <a:ext uri="{FF2B5EF4-FFF2-40B4-BE49-F238E27FC236}">
                <a16:creationId xmlns:a16="http://schemas.microsoft.com/office/drawing/2014/main" id="{28CB6735-73B4-4266-9525-BE816DBE5AC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0000" b="90000" l="10000" r="90000">
                        <a14:foregroundMark x1="55078" y1="61154" x2="55078" y2="61154"/>
                        <a14:foregroundMark x1="34375" y1="63077" x2="34375" y2="63077"/>
                        <a14:foregroundMark x1="46094" y1="69615" x2="46094" y2="69615"/>
                        <a14:foregroundMark x1="76563" y1="58077" x2="76563" y2="58077"/>
                        <a14:foregroundMark x1="68750" y1="61154" x2="58203" y2="76538"/>
                        <a14:foregroundMark x1="29688" y1="59615" x2="69922" y2="60385"/>
                        <a14:foregroundMark x1="24609" y1="59615" x2="39453" y2="74615"/>
                        <a14:foregroundMark x1="19531" y1="63077" x2="44141" y2="78077"/>
                        <a14:foregroundMark x1="45313" y1="81538" x2="72656" y2="59615"/>
                        <a14:foregroundMark x1="20703" y1="55385" x2="28516" y2="73846"/>
                        <a14:foregroundMark x1="23828" y1="70385" x2="40234" y2="79615"/>
                        <a14:backgroundMark x1="81641" y1="21154" x2="81641" y2="2115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5387" y="3091571"/>
            <a:ext cx="1200480" cy="1406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0400D2AA-14C7-46AE-9307-D5AE69236D0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93" b="89286" l="1333" r="98667">
                        <a14:foregroundMark x1="50667" y1="20982" x2="50667" y2="20982"/>
                        <a14:foregroundMark x1="51556" y1="38839" x2="51556" y2="38839"/>
                        <a14:foregroundMark x1="40444" y1="36607" x2="61778" y2="14286"/>
                        <a14:foregroundMark x1="31111" y1="50893" x2="79556" y2="51786"/>
                        <a14:foregroundMark x1="13778" y1="73214" x2="86667" y2="70536"/>
                        <a14:foregroundMark x1="40444" y1="37946" x2="34667" y2="8929"/>
                        <a14:foregroundMark x1="65333" y1="42411" x2="67111" y2="9821"/>
                        <a14:foregroundMark x1="24000" y1="21875" x2="67556" y2="15179"/>
                        <a14:foregroundMark x1="34667" y1="37500" x2="28444" y2="1339"/>
                        <a14:foregroundMark x1="29333" y1="56250" x2="84889" y2="60268"/>
                        <a14:foregroundMark x1="13333" y1="65625" x2="60889" y2="66518"/>
                        <a14:foregroundMark x1="84000" y1="81250" x2="73778" y2="64732"/>
                        <a14:foregroundMark x1="72889" y1="76786" x2="32000" y2="69196"/>
                        <a14:foregroundMark x1="48000" y1="77679" x2="5333" y2="62054"/>
                        <a14:foregroundMark x1="24000" y1="77679" x2="3556" y2="66518"/>
                        <a14:foregroundMark x1="78222" y1="46875" x2="22667" y2="45089"/>
                        <a14:foregroundMark x1="30222" y1="9821" x2="36000" y2="39732"/>
                        <a14:foregroundMark x1="62667" y1="7143" x2="76444" y2="40625"/>
                        <a14:foregroundMark x1="71111" y1="11607" x2="68444" y2="28571"/>
                        <a14:foregroundMark x1="58222" y1="4018" x2="46222" y2="4018"/>
                        <a14:foregroundMark x1="30222" y1="8929" x2="27556" y2="39732"/>
                        <a14:foregroundMark x1="85778" y1="66518" x2="98667" y2="70089"/>
                        <a14:foregroundMark x1="86667" y1="74107" x2="98667" y2="74107"/>
                        <a14:foregroundMark x1="43111" y1="79464" x2="1333" y2="71429"/>
                        <a14:foregroundMark x1="19111" y1="78571" x2="17333" y2="77679"/>
                        <a14:foregroundMark x1="5333" y1="76786" x2="5333" y2="76786"/>
                        <a14:foregroundMark x1="8889" y1="75893" x2="8889" y2="75893"/>
                        <a14:foregroundMark x1="6222" y1="81250" x2="6222" y2="81250"/>
                        <a14:foregroundMark x1="2667" y1="77679" x2="2667" y2="77679"/>
                        <a14:foregroundMark x1="2667" y1="77679" x2="2667" y2="77679"/>
                        <a14:foregroundMark x1="2667" y1="78571" x2="20000" y2="78571"/>
                        <a14:foregroundMark x1="10667" y1="80357" x2="3556" y2="6473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163" y="355600"/>
            <a:ext cx="899380" cy="89538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B8364AC9-31EB-4F4D-A476-B3AFD3B227A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24741" y="1750189"/>
            <a:ext cx="660224" cy="842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9542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تشک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395790" y="1076739"/>
            <a:ext cx="9400423" cy="4704523"/>
          </a:xfrm>
          <a:prstGeom prst="rect">
            <a:avLst/>
          </a:prstGeom>
          <a:noFill/>
          <a:ln w="317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400">
              <a:cs typeface="B Titr" panose="00000700000000000000" pitchFamily="2" charset="-78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871531" y="1508787"/>
            <a:ext cx="8448939" cy="3840427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4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ko-KR" altLang="en-US" sz="2400">
              <a:solidFill>
                <a:schemeClr val="tx1">
                  <a:lumMod val="75000"/>
                  <a:lumOff val="25000"/>
                </a:schemeClr>
              </a:solidFill>
              <a:cs typeface="B Titr" panose="00000700000000000000" pitchFamily="2" charset="-78"/>
            </a:endParaRPr>
          </a:p>
        </p:txBody>
      </p:sp>
      <p:sp>
        <p:nvSpPr>
          <p:cNvPr id="7" name="제목 1"/>
          <p:cNvSpPr>
            <a:spLocks noGrp="1"/>
          </p:cNvSpPr>
          <p:nvPr>
            <p:ph type="title" hasCustomPrompt="1"/>
          </p:nvPr>
        </p:nvSpPr>
        <p:spPr>
          <a:xfrm>
            <a:off x="1391478" y="3899926"/>
            <a:ext cx="9409045" cy="711077"/>
          </a:xfrm>
          <a:prstGeom prst="rect">
            <a:avLst/>
          </a:prstGeom>
        </p:spPr>
        <p:txBody>
          <a:bodyPr anchor="ctr">
            <a:noAutofit/>
          </a:bodyPr>
          <a:lstStyle>
            <a:lvl1pPr algn="ctr">
              <a:defRPr sz="4800" b="1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itchFamily="34" charset="0"/>
                <a:cs typeface="B Titr" panose="00000700000000000000" pitchFamily="2" charset="-78"/>
              </a:defRPr>
            </a:lvl1pPr>
          </a:lstStyle>
          <a:p>
            <a:r>
              <a:rPr lang="fa-IR" altLang="ko-KR" dirty="0"/>
              <a:t>با تشکر</a:t>
            </a:r>
            <a:endParaRPr lang="ko-KR" altLang="en-US" dirty="0"/>
          </a:p>
        </p:txBody>
      </p:sp>
      <p:sp>
        <p:nvSpPr>
          <p:cNvPr id="8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1391478" y="4685135"/>
            <a:ext cx="9409045" cy="351300"/>
          </a:xfrm>
          <a:prstGeom prst="rect">
            <a:avLst/>
          </a:prstGeom>
        </p:spPr>
        <p:txBody>
          <a:bodyPr lIns="108000" anchor="ctr"/>
          <a:lstStyle>
            <a:lvl1pPr marL="0" indent="0" algn="ctr">
              <a:buNone/>
              <a:defRPr sz="1867" baseline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pitchFamily="34" charset="0"/>
                <a:cs typeface="B Titr" panose="00000700000000000000" pitchFamily="2" charset="-78"/>
              </a:defRPr>
            </a:lvl1pPr>
          </a:lstStyle>
          <a:p>
            <a:pPr lvl="0"/>
            <a:r>
              <a:rPr lang="fa-IR" altLang="ko-KR" dirty="0"/>
              <a:t>مرکز تحقیقات بیماریهای غیرواگیر </a:t>
            </a:r>
            <a:endParaRPr lang="ko-KR" altLang="en-US" dirty="0"/>
          </a:p>
        </p:txBody>
      </p:sp>
      <p:pic>
        <p:nvPicPr>
          <p:cNvPr id="3" name="Picture 2" descr="D:\KBM-정애\014-Fullppt\PNG이미지\paper-bulb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9220" y="1757898"/>
            <a:ext cx="1313645" cy="19569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43339" y="6141838"/>
            <a:ext cx="1056117" cy="461061"/>
          </a:xfrm>
          <a:prstGeom prst="rect">
            <a:avLst/>
          </a:prstGeom>
        </p:spPr>
        <p:txBody>
          <a:bodyPr/>
          <a:lstStyle/>
          <a:p>
            <a:fld id="{71766878-3199-4EAB-94E7-2D6D11070E14}" type="slidenum">
              <a:rPr lang="en-US" dirty="0"/>
              <a:t>‹#›</a:t>
            </a:fld>
            <a:endParaRPr lang="en-US" dirty="0"/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10921979" y="6424323"/>
            <a:ext cx="1056117" cy="461061"/>
          </a:xfrm>
          <a:prstGeom prst="rect">
            <a:avLst/>
          </a:prstGeom>
        </p:spPr>
        <p:txBody>
          <a:bodyPr/>
          <a:lstStyle>
            <a:defPPr>
              <a:defRPr lang="ko-KR"/>
            </a:defPPr>
            <a:lvl1pPr marL="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1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a-IR" sz="1333" dirty="0"/>
              <a:t>ارایه</a:t>
            </a:r>
            <a:r>
              <a:rPr lang="fa-IR" sz="1333" baseline="0" dirty="0"/>
              <a:t> دهنده:</a:t>
            </a:r>
            <a:endParaRPr lang="en-US" sz="1333" dirty="0"/>
          </a:p>
        </p:txBody>
      </p:sp>
    </p:spTree>
    <p:extLst>
      <p:ext uri="{BB962C8B-B14F-4D97-AF65-F5344CB8AC3E}">
        <p14:creationId xmlns:p14="http://schemas.microsoft.com/office/powerpoint/2010/main" val="10680183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ffee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4000" i="1" baseline="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  <a:p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777" y="6382207"/>
            <a:ext cx="358840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400" b="1">
                <a:solidFill>
                  <a:schemeClr val="accent1"/>
                </a:solidFill>
              </a:defRPr>
            </a:lvl1pPr>
          </a:lstStyle>
          <a:p>
            <a:fld id="{9EE92F51-9D7A-4895-B642-F19EBC2F540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300039" y="6382207"/>
            <a:ext cx="628377" cy="215444"/>
          </a:xfrm>
          <a:prstGeom prst="rect">
            <a:avLst/>
          </a:prstGeom>
          <a:noFill/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spAutoFit/>
          </a:bodyPr>
          <a:lstStyle/>
          <a:p>
            <a:pPr algn="l"/>
            <a:r>
              <a:rPr lang="en-US" sz="1400" b="1" dirty="0">
                <a:solidFill>
                  <a:schemeClr val="bg1">
                    <a:lumMod val="75000"/>
                  </a:schemeClr>
                </a:solidFill>
              </a:rPr>
              <a:t>SLIDE </a:t>
            </a:r>
            <a:r>
              <a:rPr lang="en-US" sz="1400" b="1" dirty="0">
                <a:solidFill>
                  <a:schemeClr val="accent1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1544419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bg1"/>
            </a:gs>
            <a:gs pos="79000">
              <a:schemeClr val="bg2">
                <a:lumMod val="52000"/>
                <a:lumOff val="48000"/>
              </a:schemeClr>
            </a:gs>
            <a:gs pos="100000">
              <a:schemeClr val="tx2">
                <a:lumMod val="20000"/>
                <a:lumOff val="8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589054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</p:sldLayoutIdLst>
  <p:hf hdr="0" dt="0"/>
  <p:txStyles>
    <p:titleStyle>
      <a:lvl1pPr algn="ctr" defTabSz="1219170" rtl="0" eaLnBrk="1" latinLnBrk="1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1219170" rtl="0" eaLnBrk="1" latinLnBrk="1" hangingPunct="1">
        <a:spcBef>
          <a:spcPct val="20000"/>
        </a:spcBef>
        <a:buFont typeface="Arial" pitchFamily="34" charset="0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1219170" rtl="0" eaLnBrk="1" latinLnBrk="1" hangingPunct="1">
        <a:spcBef>
          <a:spcPct val="20000"/>
        </a:spcBef>
        <a:buFont typeface="Arial" pitchFamily="34" charset="0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1219170" rtl="0" eaLnBrk="1" latinLnBrk="1" hangingPunct="1">
        <a:spcBef>
          <a:spcPct val="20000"/>
        </a:spcBef>
        <a:buFont typeface="Arial" pitchFamily="34" charset="0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1219170" rtl="0" eaLnBrk="1" latinLnBrk="1" hangingPunct="1">
        <a:spcBef>
          <a:spcPct val="20000"/>
        </a:spcBef>
        <a:buFont typeface="Arial" pitchFamily="34" charset="0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1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1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png"/><Relationship Id="rId5" Type="http://schemas.openxmlformats.org/officeDocument/2006/relationships/image" Target="../media/image28.jpeg"/><Relationship Id="rId4" Type="http://schemas.openxmlformats.org/officeDocument/2006/relationships/image" Target="../media/image26.jpe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6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microsoft.com/office/2007/relationships/hdphoto" Target="../media/hdphoto3.wdp"/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0.jpg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2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5.jpe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gi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image" Target="../media/image16.jpeg"/><Relationship Id="rId7" Type="http://schemas.openxmlformats.org/officeDocument/2006/relationships/image" Target="../media/image20.jpe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jpg"/><Relationship Id="rId4" Type="http://schemas.openxmlformats.org/officeDocument/2006/relationships/image" Target="../media/image17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3.jpeg"/><Relationship Id="rId7" Type="http://schemas.openxmlformats.org/officeDocument/2006/relationships/image" Target="../media/image27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6.jpeg"/><Relationship Id="rId5" Type="http://schemas.openxmlformats.org/officeDocument/2006/relationships/image" Target="../media/image25.jpg"/><Relationship Id="rId4" Type="http://schemas.openxmlformats.org/officeDocument/2006/relationships/image" Target="../media/image24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2.jpg"/><Relationship Id="rId4" Type="http://schemas.openxmlformats.org/officeDocument/2006/relationships/image" Target="../media/image31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0" y="1880315"/>
            <a:ext cx="12191997" cy="1937305"/>
          </a:xfrm>
        </p:spPr>
        <p:txBody>
          <a:bodyPr/>
          <a:lstStyle/>
          <a:p>
            <a:pPr rtl="1"/>
            <a:r>
              <a:rPr lang="fa-IR" dirty="0" smtClean="0">
                <a:cs typeface="B Nazanin" panose="00000400000000000000" pitchFamily="2" charset="-78"/>
              </a:rPr>
              <a:t>بخش آزمایشگاه</a:t>
            </a:r>
            <a:br>
              <a:rPr lang="fa-IR" dirty="0" smtClean="0">
                <a:cs typeface="B Nazanin" panose="00000400000000000000" pitchFamily="2" charset="-78"/>
              </a:rPr>
            </a:br>
            <a:r>
              <a:rPr lang="fa-IR" dirty="0" smtClean="0">
                <a:cs typeface="B Nazanin" panose="00000400000000000000" pitchFamily="2" charset="-78"/>
              </a:rPr>
              <a:t>پیمایش </a:t>
            </a:r>
            <a:r>
              <a:rPr lang="fa-IR" dirty="0">
                <a:cs typeface="B Nazanin" panose="00000400000000000000" pitchFamily="2" charset="-78"/>
              </a:rPr>
              <a:t>ملی بیماری های غیرواگیر(</a:t>
            </a:r>
            <a:r>
              <a:rPr lang="en-US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</a:t>
            </a:r>
            <a:r>
              <a:rPr lang="fa-IR" dirty="0" smtClean="0">
                <a:cs typeface="B Nazanin" panose="00000400000000000000" pitchFamily="2" charset="-78"/>
              </a:rPr>
              <a:t>)</a:t>
            </a:r>
            <a:endParaRPr lang="en-GB" dirty="0"/>
          </a:p>
        </p:txBody>
      </p:sp>
      <p:sp>
        <p:nvSpPr>
          <p:cNvPr id="2" name="TextBox 1"/>
          <p:cNvSpPr txBox="1"/>
          <p:nvPr/>
        </p:nvSpPr>
        <p:spPr>
          <a:xfrm>
            <a:off x="5332007" y="4229100"/>
            <a:ext cx="13773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a-IR" sz="2400" dirty="0" smtClean="0">
                <a:cs typeface="B Nazanin" panose="00000400000000000000" pitchFamily="2" charset="-78"/>
              </a:rPr>
              <a:t>ویلما کاظمی</a:t>
            </a:r>
            <a:endParaRPr lang="en-US" sz="2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94853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0011" y="370055"/>
            <a:ext cx="10033506" cy="1035373"/>
          </a:xfrm>
        </p:spPr>
        <p:txBody>
          <a:bodyPr/>
          <a:lstStyle/>
          <a:p>
            <a:r>
              <a:rPr lang="fa-IR" sz="44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وسایل جانبی که انتظار می رود در محل نمونه گیری </a:t>
            </a:r>
            <a:r>
              <a:rPr lang="fa-IR" sz="4400" dirty="0">
                <a:solidFill>
                  <a:schemeClr val="tx2">
                    <a:lumMod val="60000"/>
                    <a:lumOff val="4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روستا</a:t>
            </a:r>
            <a:r>
              <a:rPr lang="fa-IR" sz="44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 موجود باشد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230861" y="1668810"/>
            <a:ext cx="10558501" cy="1462193"/>
          </a:xfrm>
        </p:spPr>
        <p:txBody>
          <a:bodyPr/>
          <a:lstStyle/>
          <a:p>
            <a:pPr marL="0" indent="0">
              <a:buNone/>
            </a:pPr>
            <a:r>
              <a:rPr lang="ar-SA" dirty="0">
                <a:latin typeface="Titr" panose="00000700000000000000" pitchFamily="2" charset="-78"/>
                <a:cs typeface="B Nazanin" panose="00000400000000000000" pitchFamily="2" charset="-78"/>
              </a:rPr>
              <a:t>روپوش آزمایشگاه، دستكش</a:t>
            </a:r>
            <a:r>
              <a:rPr lang="fa-IR" dirty="0">
                <a:latin typeface="Titr" panose="00000700000000000000" pitchFamily="2" charset="-78"/>
                <a:cs typeface="B Nazanin" panose="00000400000000000000" pitchFamily="2" charset="-78"/>
              </a:rPr>
              <a:t>، </a:t>
            </a:r>
            <a:r>
              <a:rPr lang="ar-SA" dirty="0" smtClean="0">
                <a:latin typeface="Titr" panose="00000700000000000000" pitchFamily="2" charset="-78"/>
                <a:cs typeface="B Nazanin" panose="00000400000000000000" pitchFamily="2" charset="-78"/>
              </a:rPr>
              <a:t>اتیل </a:t>
            </a:r>
            <a:r>
              <a:rPr lang="ar-SA" dirty="0">
                <a:latin typeface="Titr" panose="00000700000000000000" pitchFamily="2" charset="-78"/>
                <a:cs typeface="B Nazanin" panose="00000400000000000000" pitchFamily="2" charset="-78"/>
              </a:rPr>
              <a:t>الكل 70 </a:t>
            </a:r>
            <a:r>
              <a:rPr lang="ar-SA" dirty="0" smtClean="0">
                <a:latin typeface="Titr" panose="00000700000000000000" pitchFamily="2" charset="-78"/>
                <a:cs typeface="B Nazanin" panose="00000400000000000000" pitchFamily="2" charset="-78"/>
              </a:rPr>
              <a:t>درصد</a:t>
            </a:r>
            <a:r>
              <a:rPr lang="fa-IR" dirty="0" smtClean="0">
                <a:latin typeface="Titr" panose="00000700000000000000" pitchFamily="2" charset="-78"/>
                <a:cs typeface="B Nazanin" panose="00000400000000000000" pitchFamily="2" charset="-78"/>
              </a:rPr>
              <a:t> </a:t>
            </a:r>
            <a:r>
              <a:rPr lang="ar-SA" dirty="0" smtClean="0">
                <a:latin typeface="Titr" panose="00000700000000000000" pitchFamily="2" charset="-78"/>
                <a:cs typeface="B Nazanin" panose="00000400000000000000" pitchFamily="2" charset="-78"/>
              </a:rPr>
              <a:t>و </a:t>
            </a:r>
            <a:r>
              <a:rPr lang="ar-SA" dirty="0">
                <a:latin typeface="Titr" panose="00000700000000000000" pitchFamily="2" charset="-78"/>
                <a:cs typeface="B Nazanin" panose="00000400000000000000" pitchFamily="2" charset="-78"/>
              </a:rPr>
              <a:t>ظروف مخصوص دفع سرسوزن</a:t>
            </a:r>
            <a:r>
              <a:rPr lang="en-US" dirty="0">
                <a:latin typeface="Titr" panose="00000700000000000000" pitchFamily="2" charset="-78"/>
                <a:cs typeface="B Nazanin" panose="00000400000000000000" pitchFamily="2" charset="-78"/>
              </a:rPr>
              <a:t>‌</a:t>
            </a:r>
            <a:r>
              <a:rPr lang="ar-SA" dirty="0">
                <a:latin typeface="Titr" panose="00000700000000000000" pitchFamily="2" charset="-78"/>
                <a:cs typeface="B Nazanin" panose="00000400000000000000" pitchFamily="2" charset="-78"/>
              </a:rPr>
              <a:t>های آلوده </a:t>
            </a:r>
            <a:r>
              <a:rPr lang="ar-SA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2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Safety Box</a:t>
            </a:r>
            <a:r>
              <a:rPr lang="ar-SA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fa-IR" sz="2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و فشارسنج</a:t>
            </a:r>
            <a:endParaRPr lang="en-US" sz="28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2263" y="3131003"/>
            <a:ext cx="2269072" cy="226907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6604" y="2927502"/>
            <a:ext cx="1734258" cy="255920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4957" y="3131003"/>
            <a:ext cx="1566245" cy="233492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84" b="16683"/>
          <a:stretch/>
        </p:blipFill>
        <p:spPr>
          <a:xfrm>
            <a:off x="5352647" y="3131003"/>
            <a:ext cx="1689235" cy="2446837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2307" y="3229283"/>
            <a:ext cx="2253071" cy="20219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628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مراحل انجام نمونه‌گیری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1694" y="2091296"/>
            <a:ext cx="6087255" cy="405054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0466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>
                <a:solidFill>
                  <a:schemeClr val="tx1"/>
                </a:solidFill>
                <a:cs typeface="B Nazanin" panose="00000400000000000000" pitchFamily="2" charset="-78"/>
              </a:rPr>
              <a:t>نکات پیش از </a:t>
            </a:r>
            <a:r>
              <a:rPr lang="fa-IR" dirty="0" smtClean="0">
                <a:solidFill>
                  <a:schemeClr val="tx1"/>
                </a:solidFill>
                <a:cs typeface="B Nazanin" panose="00000400000000000000" pitchFamily="2" charset="-78"/>
              </a:rPr>
              <a:t>خونگیری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758478"/>
            <a:ext cx="10842290" cy="4015305"/>
          </a:xfrm>
        </p:spPr>
        <p:txBody>
          <a:bodyPr/>
          <a:lstStyle/>
          <a:p>
            <a:pPr marL="548640" indent="-54864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a-IR" sz="2000" b="1" dirty="0">
                <a:cs typeface="B Nazanin" panose="00000400000000000000" pitchFamily="2" charset="-78"/>
              </a:rPr>
              <a:t> </a:t>
            </a:r>
            <a:r>
              <a:rPr lang="fa-IR" sz="2000" dirty="0">
                <a:latin typeface="Titr" panose="00000700000000000000" pitchFamily="2" charset="-78"/>
                <a:cs typeface="B Nazanin" panose="00000400000000000000" pitchFamily="2" charset="-78"/>
              </a:rPr>
              <a:t>پیش از شروع خون گیری باید تمامی اطلاعات لازم اعم از تاریخ نمونه گیری، شرایط ناشتا بودن، مدت زمان نمونه گیری و احتمال تکرار مراجعات برای فرآیند لکه گیری در اختیار افراد گذاشته شود.</a:t>
            </a:r>
          </a:p>
          <a:p>
            <a:pPr marL="548640" indent="-54864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a-IR" sz="2000" dirty="0">
                <a:latin typeface="Titr" panose="00000700000000000000" pitchFamily="2" charset="-78"/>
                <a:cs typeface="B Nazanin" panose="00000400000000000000" pitchFamily="2" charset="-78"/>
              </a:rPr>
              <a:t>از آنجا که مطالعه استپس در سطح وسیع انجام شده و از تعداد 25000 فرد نمونه گیری می شود؛ تمامی کارشناسان آزمایشگاه باید نکات ایمنی را به منظور جلوگیری از انتقال ویروس و باکتری های بیماری زا رعایت کنند. بدین منظور لازم است که </a:t>
            </a:r>
            <a:r>
              <a:rPr lang="fa-IR" sz="2000" dirty="0" smtClean="0">
                <a:latin typeface="Titr" panose="00000700000000000000" pitchFamily="2" charset="-78"/>
                <a:cs typeface="B Nazanin" panose="00000400000000000000" pitchFamily="2" charset="-78"/>
              </a:rPr>
              <a:t>کارشناسان</a:t>
            </a:r>
            <a:r>
              <a:rPr lang="en-US" sz="2000" dirty="0" smtClean="0">
                <a:latin typeface="Titr" panose="00000700000000000000" pitchFamily="2" charset="-78"/>
                <a:cs typeface="B Nazanin" panose="00000400000000000000" pitchFamily="2" charset="-78"/>
              </a:rPr>
              <a:t>  </a:t>
            </a:r>
            <a:r>
              <a:rPr lang="fa-IR" sz="2000" dirty="0" smtClean="0">
                <a:latin typeface="Titr" panose="00000700000000000000" pitchFamily="2" charset="-78"/>
                <a:cs typeface="B Nazanin" panose="00000400000000000000" pitchFamily="2" charset="-78"/>
              </a:rPr>
              <a:t> </a:t>
            </a:r>
            <a:r>
              <a:rPr lang="fa-IR" sz="2000" dirty="0">
                <a:latin typeface="Titr" panose="00000700000000000000" pitchFamily="2" charset="-78"/>
                <a:cs typeface="B Nazanin" panose="00000400000000000000" pitchFamily="2" charset="-78"/>
              </a:rPr>
              <a:t>آزمایشگاه همواره از </a:t>
            </a:r>
            <a:r>
              <a:rPr lang="fa-IR" sz="2000" dirty="0" smtClean="0">
                <a:latin typeface="Titr" panose="00000700000000000000" pitchFamily="2" charset="-78"/>
                <a:cs typeface="B Nazanin" panose="00000400000000000000" pitchFamily="2" charset="-78"/>
              </a:rPr>
              <a:t>روپوش، ماسک و </a:t>
            </a:r>
            <a:r>
              <a:rPr lang="fa-IR" sz="2000" dirty="0">
                <a:latin typeface="Titr" panose="00000700000000000000" pitchFamily="2" charset="-78"/>
                <a:cs typeface="B Nazanin" panose="00000400000000000000" pitchFamily="2" charset="-78"/>
              </a:rPr>
              <a:t>دستکش استفاده نمایند.</a:t>
            </a:r>
          </a:p>
          <a:p>
            <a:pPr marL="548640" indent="-54864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a-IR" sz="2400" b="1" dirty="0">
                <a:solidFill>
                  <a:srgbClr val="C00000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پرسنل آزمایشگاه ها باید حتما واکسینه باشند و مورد تایید اداره امور آزمایشگاه های استان باشند</a:t>
            </a:r>
            <a:r>
              <a:rPr lang="fa-IR" sz="2400" b="1" dirty="0" smtClean="0">
                <a:solidFill>
                  <a:srgbClr val="C00000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.</a:t>
            </a:r>
            <a:endParaRPr lang="en-US" sz="2400" b="1" dirty="0">
              <a:solidFill>
                <a:srgbClr val="C00000"/>
              </a:solidFill>
              <a:latin typeface="Titr" panose="00000700000000000000" pitchFamily="2" charset="-78"/>
              <a:cs typeface="B Nazanin" panose="00000400000000000000" pitchFamily="2" charset="-78"/>
            </a:endParaRPr>
          </a:p>
          <a:p>
            <a:pPr marL="548640" indent="-548640" algn="just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fa-IR" sz="2400" b="1" dirty="0" smtClean="0">
                <a:solidFill>
                  <a:srgbClr val="C00000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شرکت کننده محترم حداقل 48 ساعت پس از پرسشگری باید به آزمایشگاه منتخب مراجعه نماید.</a:t>
            </a:r>
            <a:endParaRPr lang="en-US" sz="4000" b="1" dirty="0">
              <a:solidFill>
                <a:srgbClr val="C00000"/>
              </a:solidFill>
              <a:latin typeface="Titr" panose="00000700000000000000" pitchFamily="2" charset="-78"/>
              <a:cs typeface="B Nazanin" panose="00000400000000000000" pitchFamily="2" charset="-78"/>
            </a:endParaRPr>
          </a:p>
          <a:p>
            <a:pPr marL="548640" indent="-45720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2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4392477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ذ دشظ"/>
                <a:cs typeface="B Nazanin" panose="00000400000000000000" pitchFamily="2" charset="-78"/>
              </a:rPr>
              <a:t>نکات پیش از </a:t>
            </a:r>
            <a:r>
              <a:rPr lang="fa-IR" dirty="0" smtClean="0">
                <a:solidFill>
                  <a:schemeClr val="tx1"/>
                </a:solidFill>
                <a:latin typeface="ذ دشظ"/>
                <a:cs typeface="B Nazanin" panose="00000400000000000000" pitchFamily="2" charset="-78"/>
              </a:rPr>
              <a:t>خونگیری</a:t>
            </a:r>
            <a:endParaRPr lang="en-US" dirty="0">
              <a:solidFill>
                <a:schemeClr val="tx1"/>
              </a:solidFill>
              <a:latin typeface="ذ دشظ"/>
              <a:cs typeface="B Nazanin" panose="00000400000000000000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2226735"/>
            <a:ext cx="10464800" cy="2691385"/>
          </a:xfrm>
        </p:spPr>
        <p:txBody>
          <a:bodyPr/>
          <a:lstStyle/>
          <a:p>
            <a:pPr marL="0" lvl="0" indent="0" algn="just" defTabSz="914400" latinLnBrk="0">
              <a:lnSpc>
                <a:spcPct val="115000"/>
              </a:lnSpc>
              <a:spcBef>
                <a:spcPts val="0"/>
              </a:spcBef>
              <a:buNone/>
            </a:pPr>
            <a:r>
              <a:rPr lang="fa-IR" sz="3600" dirty="0">
                <a:solidFill>
                  <a:prstClr val="black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* </a:t>
            </a:r>
            <a:r>
              <a:rPr lang="fa-IR" sz="4000" dirty="0">
                <a:solidFill>
                  <a:prstClr val="black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لازم به ذکر است که </a:t>
            </a:r>
            <a:r>
              <a:rPr lang="fa-IR" sz="4000" dirty="0" smtClean="0">
                <a:solidFill>
                  <a:prstClr val="black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کارشناسان محترم </a:t>
            </a:r>
            <a:r>
              <a:rPr lang="fa-IR" sz="4000" dirty="0">
                <a:solidFill>
                  <a:prstClr val="black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آزمایشگاه پس از انجام آزمون آنلاین و کسب امتیاز مورد تایید، نام کاربری برای آنها </a:t>
            </a:r>
            <a:r>
              <a:rPr lang="fa-IR" sz="4000" dirty="0" smtClean="0">
                <a:solidFill>
                  <a:prstClr val="black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تعریف </a:t>
            </a:r>
            <a:r>
              <a:rPr lang="fa-IR" sz="4000" dirty="0">
                <a:solidFill>
                  <a:prstClr val="black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می شود و می توانند وارد نرم افزار </a:t>
            </a:r>
            <a:r>
              <a:rPr lang="en-US" sz="4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steps</a:t>
            </a:r>
            <a:r>
              <a:rPr lang="fa-IR" sz="4000" dirty="0">
                <a:latin typeface="Titr" panose="00000700000000000000" pitchFamily="2" charset="-78"/>
                <a:cs typeface="B Nazanin" panose="00000400000000000000" pitchFamily="2" charset="-78"/>
              </a:rPr>
              <a:t> </a:t>
            </a:r>
            <a:r>
              <a:rPr lang="fa-IR" sz="4000" dirty="0">
                <a:solidFill>
                  <a:prstClr val="black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شوند.</a:t>
            </a:r>
            <a:endParaRPr lang="en-US" sz="5400" dirty="0">
              <a:solidFill>
                <a:prstClr val="black"/>
              </a:solidFill>
              <a:latin typeface="Titr" panose="00000700000000000000" pitchFamily="2" charset="-78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3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77053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شرکت کننده محترم موظف است:</a:t>
            </a:r>
            <a:endParaRPr lang="en-US" dirty="0">
              <a:solidFill>
                <a:schemeClr val="tx1">
                  <a:lumMod val="50000"/>
                </a:schemeClr>
              </a:solidFill>
              <a:latin typeface="Titr" panose="00000700000000000000" pitchFamily="2" charset="-78"/>
              <a:ea typeface="Times New Roman" panose="02020603050405020304" pitchFamily="18" charset="0"/>
              <a:cs typeface="B Nazanin" panose="00000400000000000000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548013" y="2647871"/>
            <a:ext cx="9712174" cy="2334139"/>
          </a:xfrm>
        </p:spPr>
        <p:txBody>
          <a:bodyPr/>
          <a:lstStyle/>
          <a:p>
            <a:pPr lvl="0"/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برای مراجعه به آزمایشگاه منتخب در تاریخ و زمان تعیین شده با شرایط ذکر شده در فرم </a:t>
            </a:r>
            <a:r>
              <a:rPr lang="fa-IR" sz="2400" dirty="0" smtClean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آمادگی فردی، </a:t>
            </a: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حتما با ماسک حضور یابد.</a:t>
            </a:r>
            <a:endParaRPr lang="en-US" sz="24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lvl="0"/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فاصله اجتماعی را از سایر شرکت کنندگان رعایت کند.</a:t>
            </a:r>
            <a:endParaRPr lang="en-US" sz="24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lvl="0"/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از تماس دست ها با چشم، دهان و بینی جدا خودداری کند.</a:t>
            </a:r>
            <a:endParaRPr lang="en-US" sz="24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5279401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437" y="195093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مسئول پذیرش موظف است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382160"/>
            <a:ext cx="10464800" cy="4607984"/>
          </a:xfrm>
        </p:spPr>
        <p:txBody>
          <a:bodyPr/>
          <a:lstStyle/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8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1. ابتدای هر روز پیش از شروع پذیرش شرکت کننده ها همگام سازی با تبلت را انجام دهد؛ به این معنا که </a:t>
            </a:r>
            <a:r>
              <a:rPr lang="fa-IR" sz="2800" b="1" u="sng" spc="1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به اینترنت متصل شود </a:t>
            </a:r>
            <a:r>
              <a:rPr lang="fa-IR" sz="28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و در نرم افزار </a:t>
            </a:r>
            <a:r>
              <a:rPr lang="en-US" sz="2800" b="1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teps</a:t>
            </a:r>
            <a:r>
              <a:rPr lang="fa-IR" sz="28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 وارد صفحه کاربری خود شود.</a:t>
            </a:r>
            <a:endParaRPr lang="fa-IR" sz="24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2. پ</a:t>
            </a:r>
            <a:r>
              <a:rPr lang="ar-SA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س از ورود فرد به آزمایشگاه</a:t>
            </a: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، دریافت کارت فرد و احراز هویت</a:t>
            </a:r>
            <a:r>
              <a:rPr lang="ar-SA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، کدملی فرد را در تبلت وارد کرده و پس از ورود به صفحه مربوط به فرد، تمامی اطلاعات اعم از نام، نام خانوادگی را با مشخصات فرد تطبیق دهد.</a:t>
            </a:r>
            <a:endParaRPr lang="fa-IR" sz="24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4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نکته: کارشناس آزمایشگاه حتما قبل از انجام پذیرش باید به اینترنت متصل شود و همگام سازی را انجام دهد؛ همچنین قبل از انتقال تبلت ها به </a:t>
            </a:r>
            <a:r>
              <a:rPr lang="fa-IR" sz="2400" b="1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روستاها </a:t>
            </a:r>
            <a:r>
              <a:rPr lang="fa-IR" sz="24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برای پذیرش باید هرروز در </a:t>
            </a:r>
            <a:r>
              <a:rPr lang="fa-IR" sz="2400" b="1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شهر </a:t>
            </a:r>
            <a:r>
              <a:rPr lang="fa-IR" sz="24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تبلت به اینترنت متصل شود و همگام سازی انجام شود سپس تبلت به روستا تحویل داده  شود.</a:t>
            </a:r>
            <a:endParaRPr lang="en-US" sz="2400" b="1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852118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8444" y="375396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مسئول پذیرش موظف است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03615" y="1410769"/>
            <a:ext cx="10464800" cy="4016940"/>
          </a:xfrm>
        </p:spPr>
        <p:txBody>
          <a:bodyPr/>
          <a:lstStyle/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3. </a:t>
            </a:r>
            <a:r>
              <a:rPr lang="ar-SA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پس از تطبیق اطلاعات فرد، </a:t>
            </a: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کد منحصر به فرد درج شده روی یک بسته فردی ارسال شده به آزمایشگاه را به فرد تخصیص دهد و این کد را در تبلت و</a:t>
            </a:r>
            <a:r>
              <a:rPr lang="en-US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 </a:t>
            </a: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 روی کارت فرد ثبت کند( تا مشخص شود هر کد ملی چه کد اختصاصی فردی را دریافت نموده است).  </a:t>
            </a:r>
            <a:endParaRPr lang="en-US" sz="24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4. کارت را همراه با بسته فردی به شرکت کننده تحویل دهد و او را برای انجام نمونه گیری به آزمایشگاه راهنمایی کند.  </a:t>
            </a:r>
          </a:p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endParaRPr lang="fa-IR" sz="24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 </a:t>
            </a:r>
            <a:r>
              <a:rPr lang="fa-IR" sz="2400" b="1" dirty="0">
                <a:solidFill>
                  <a:schemeClr val="accent4">
                    <a:lumMod val="75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افراد شرکت کننده پس از مراجعه به بخش نمونه گیری، کارت و بسته فردی خود را به نمونه گیر تحویل دهند.</a:t>
            </a:r>
            <a:endParaRPr lang="en-US" sz="2400" b="1" dirty="0">
              <a:solidFill>
                <a:schemeClr val="accent4">
                  <a:lumMod val="75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7602" t="14921" r="66167" b="7790"/>
          <a:stretch/>
        </p:blipFill>
        <p:spPr>
          <a:xfrm rot="5400000">
            <a:off x="6590225" y="4814205"/>
            <a:ext cx="1346602" cy="2230785"/>
          </a:xfrm>
          <a:prstGeom prst="rect">
            <a:avLst/>
          </a:prstGeom>
          <a:ln w="762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93" t="2442" r="2864" b="15118"/>
          <a:stretch/>
        </p:blipFill>
        <p:spPr>
          <a:xfrm>
            <a:off x="3678836" y="5241700"/>
            <a:ext cx="1916219" cy="1361198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7" name="TextBox 6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8853547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437" y="195093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مسئول پذیرش موظف است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518869" y="1969988"/>
            <a:ext cx="9730953" cy="3215966"/>
          </a:xfrm>
        </p:spPr>
        <p:txBody>
          <a:bodyPr/>
          <a:lstStyle/>
          <a:p>
            <a:pPr marL="342900" lvl="0" indent="-34290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	هنگام مراجعه شرکت کننده فاصله اجتماعی را رعایت نموده و حتما از ماسک و دستکش استفاده نماید.</a:t>
            </a:r>
          </a:p>
          <a:p>
            <a:pPr marL="342900" lvl="0" indent="-34290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</a:pP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	پس از دریافت کارت فردی، احراز هویت شرکت کننده با کارت ملی و تحویل بسته های فردی، میز خود را با محلول های ضدعفونی کننده سطوح و یا الکل 70 درصد ضدعفونی نموده و شرکت کننده بعدی را پذیرش نماید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569426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7475" y="272365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نمونه‌گیر موظف است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635596"/>
            <a:ext cx="10464800" cy="4607984"/>
          </a:xfrm>
        </p:spPr>
        <p:txBody>
          <a:bodyPr/>
          <a:lstStyle/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4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1. </a:t>
            </a: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کد ثبت شده روی کارت فرد و کد درج شده روی بسته فردی را مطابقت دهد و در صورت مغایرت اطلاعات، به مسئول مربوطه گزارش دهد.</a:t>
            </a:r>
          </a:p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4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2. </a:t>
            </a: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پس از مطابقت اطلاعات، لیبل موجود در بسته فردی را پشت کارت فرد بچسباند.</a:t>
            </a:r>
          </a:p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400" b="1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نکته: </a:t>
            </a:r>
            <a:r>
              <a:rPr lang="ar-SA" sz="2400" b="1" dirty="0">
                <a:solidFill>
                  <a:srgbClr val="C00000"/>
                </a:solidFill>
                <a:latin typeface="Calibri"/>
                <a:cs typeface="B Nazanin" panose="00000400000000000000" pitchFamily="2" charset="-78"/>
              </a:rPr>
              <a:t>اجزای داخل بسته را از لحاظ نوع و تعداد لوله ها و برچسب (لیبل) کنترل کند.</a:t>
            </a:r>
            <a:endParaRPr lang="fa-IR" sz="2400" b="1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4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3. </a:t>
            </a:r>
            <a:r>
              <a:rPr lang="ar-SA" sz="2400" dirty="0">
                <a:solidFill>
                  <a:prstClr val="black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B Nazanin" panose="00000400000000000000" pitchFamily="2" charset="-78"/>
              </a:rPr>
              <a:t>اطلاعات فرد شرکت کننده را در </a:t>
            </a:r>
            <a:r>
              <a:rPr lang="ar-SA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فرم نمونه گیری(کاغذی و تبلت) ثبت نماید و سپس نمونه گیری را طبق دستورالعمل های استاندارد( </a:t>
            </a:r>
            <a:r>
              <a:rPr lang="en-US" sz="20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SOP</a:t>
            </a:r>
            <a:r>
              <a:rPr lang="fa-IR" sz="20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 </a:t>
            </a: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نمونه گیری)</a:t>
            </a:r>
            <a:r>
              <a:rPr lang="ar-SA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 انجام دهد.</a:t>
            </a:r>
            <a:endParaRPr lang="en-US" sz="24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lvl="0" indent="0" defTabSz="914400" latinLnBrk="0">
              <a:spcBef>
                <a:spcPts val="0"/>
              </a:spcBef>
              <a:buNone/>
            </a:pPr>
            <a:r>
              <a:rPr lang="fa-IR" sz="2400" b="1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4. </a:t>
            </a: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بعد از انجام نمونه گیری، کارت فرد را در بسته فردی قرار دهد.</a:t>
            </a:r>
          </a:p>
          <a:p>
            <a:pPr marL="0" indent="0">
              <a:buNone/>
            </a:pPr>
            <a:r>
              <a:rPr lang="fa-IR" b="1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توجه: </a:t>
            </a:r>
            <a:r>
              <a:rPr lang="ar-SA" b="1" dirty="0" smtClean="0">
                <a:solidFill>
                  <a:srgbClr val="C00000"/>
                </a:solidFill>
                <a:latin typeface="Calibri"/>
                <a:cs typeface="B Nazanin" panose="00000400000000000000" pitchFamily="2" charset="-78"/>
              </a:rPr>
              <a:t>هنگام </a:t>
            </a:r>
            <a:r>
              <a:rPr lang="ar-SA" b="1" dirty="0">
                <a:solidFill>
                  <a:srgbClr val="C00000"/>
                </a:solidFill>
                <a:latin typeface="Calibri"/>
                <a:cs typeface="B Nazanin" panose="00000400000000000000" pitchFamily="2" charset="-78"/>
              </a:rPr>
              <a:t>نمونه گیری حتما از ماسک </a:t>
            </a:r>
            <a:r>
              <a:rPr lang="fa-IR" b="1" dirty="0" smtClean="0">
                <a:solidFill>
                  <a:srgbClr val="C00000"/>
                </a:solidFill>
                <a:latin typeface="Calibri"/>
                <a:cs typeface="B Nazanin" panose="00000400000000000000" pitchFamily="2" charset="-78"/>
              </a:rPr>
              <a:t>و دستکش </a:t>
            </a:r>
            <a:r>
              <a:rPr lang="ar-SA" b="1" dirty="0" smtClean="0">
                <a:solidFill>
                  <a:srgbClr val="C00000"/>
                </a:solidFill>
                <a:latin typeface="Calibri"/>
                <a:cs typeface="B Nazanin" panose="00000400000000000000" pitchFamily="2" charset="-78"/>
              </a:rPr>
              <a:t>استفاده </a:t>
            </a:r>
            <a:r>
              <a:rPr lang="ar-SA" b="1" dirty="0">
                <a:solidFill>
                  <a:srgbClr val="C00000"/>
                </a:solidFill>
                <a:latin typeface="Calibri"/>
                <a:cs typeface="B Nazanin" panose="00000400000000000000" pitchFamily="2" charset="-78"/>
              </a:rPr>
              <a:t>نماید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8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149941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9959" y="182213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نمونه‌گیر موظف است: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289608" y="1533854"/>
            <a:ext cx="10464800" cy="3218450"/>
          </a:xfrm>
        </p:spPr>
        <p:txBody>
          <a:bodyPr/>
          <a:lstStyle/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400" dirty="0">
                <a:solidFill>
                  <a:prstClr val="black"/>
                </a:solidFill>
                <a:latin typeface="Calibri"/>
                <a:cs typeface="B Nazanin" panose="00000400000000000000" pitchFamily="2" charset="-78"/>
              </a:rPr>
              <a:t>5. </a:t>
            </a:r>
            <a:r>
              <a:rPr lang="ar-SA" sz="2400" dirty="0">
                <a:solidFill>
                  <a:prstClr val="black"/>
                </a:solidFill>
                <a:latin typeface="Calibri"/>
                <a:cs typeface="B Nazanin" panose="00000400000000000000" pitchFamily="2" charset="-78"/>
              </a:rPr>
              <a:t>بر اساس استانداردهای تعیین شده </a:t>
            </a:r>
            <a:r>
              <a:rPr lang="fa-IR" sz="2400" dirty="0">
                <a:solidFill>
                  <a:prstClr val="black"/>
                </a:solidFill>
                <a:latin typeface="Calibri"/>
                <a:cs typeface="B Nazanin" panose="00000400000000000000" pitchFamily="2" charset="-78"/>
              </a:rPr>
              <a:t>لازم است </a:t>
            </a:r>
            <a:r>
              <a:rPr lang="ar-SA" sz="2400" dirty="0">
                <a:solidFill>
                  <a:prstClr val="black"/>
                </a:solidFill>
                <a:latin typeface="Calibri"/>
                <a:cs typeface="B Nazanin" panose="00000400000000000000" pitchFamily="2" charset="-78"/>
              </a:rPr>
              <a:t>تمام افراد در زمان خون گیری، </a:t>
            </a:r>
            <a:r>
              <a:rPr lang="fa-IR" sz="2400" dirty="0" smtClean="0">
                <a:solidFill>
                  <a:prstClr val="black"/>
                </a:solidFill>
                <a:latin typeface="Calibri"/>
                <a:cs typeface="B Nazanin" panose="00000400000000000000" pitchFamily="2" charset="-78"/>
              </a:rPr>
              <a:t>8 تا </a:t>
            </a:r>
            <a:r>
              <a:rPr lang="ar-SA" sz="2400" dirty="0" smtClean="0">
                <a:solidFill>
                  <a:prstClr val="black"/>
                </a:solidFill>
                <a:latin typeface="Calibri"/>
                <a:cs typeface="B Nazanin" panose="00000400000000000000" pitchFamily="2" charset="-78"/>
              </a:rPr>
              <a:t>12ساعت </a:t>
            </a:r>
            <a:r>
              <a:rPr lang="ar-SA" sz="2400" dirty="0">
                <a:solidFill>
                  <a:prstClr val="black"/>
                </a:solidFill>
                <a:latin typeface="Calibri"/>
                <a:cs typeface="B Nazanin" panose="00000400000000000000" pitchFamily="2" charset="-78"/>
              </a:rPr>
              <a:t>ناشتا باشند. در هر صورت، مدت زمان ناشتا بودن افراد باید ثبت شود.</a:t>
            </a:r>
            <a:endParaRPr lang="fa-IR" sz="2400" dirty="0">
              <a:solidFill>
                <a:prstClr val="black"/>
              </a:solidFill>
              <a:latin typeface="Calibri"/>
              <a:cs typeface="B Nazanin" panose="00000400000000000000" pitchFamily="2" charset="-78"/>
            </a:endParaRPr>
          </a:p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800" b="1" dirty="0">
                <a:solidFill>
                  <a:srgbClr val="FF0000"/>
                </a:solidFill>
                <a:latin typeface="Calibri"/>
                <a:cs typeface="B Nazanin" panose="00000400000000000000" pitchFamily="2" charset="-78"/>
              </a:rPr>
              <a:t>توجه: حتما سرسوزن مقابل شرکت کننده باز شود</a:t>
            </a:r>
            <a:r>
              <a:rPr lang="fa-IR" sz="2800" b="1" dirty="0" smtClean="0">
                <a:solidFill>
                  <a:srgbClr val="FF0000"/>
                </a:solidFill>
                <a:latin typeface="Calibri"/>
                <a:cs typeface="B Nazanin" panose="00000400000000000000" pitchFamily="2" charset="-78"/>
              </a:rPr>
              <a:t>.</a:t>
            </a:r>
          </a:p>
          <a:p>
            <a:pPr marL="0" lvl="0" indent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  <a:buNone/>
            </a:pPr>
            <a:r>
              <a:rPr lang="fa-IR" sz="2800" b="1" dirty="0">
                <a:solidFill>
                  <a:srgbClr val="FF0000"/>
                </a:solidFill>
                <a:latin typeface="Calibri"/>
                <a:cs typeface="B Nazanin" panose="00000400000000000000" pitchFamily="2" charset="-78"/>
              </a:rPr>
              <a:t/>
            </a:r>
            <a:br>
              <a:rPr lang="fa-IR" sz="2800" b="1" dirty="0">
                <a:solidFill>
                  <a:srgbClr val="FF0000"/>
                </a:solidFill>
                <a:latin typeface="Calibri"/>
                <a:cs typeface="B Nazanin" panose="00000400000000000000" pitchFamily="2" charset="-78"/>
              </a:rPr>
            </a:br>
            <a:r>
              <a:rPr lang="fa-IR" sz="2800" b="1" dirty="0">
                <a:solidFill>
                  <a:srgbClr val="FF0000"/>
                </a:solidFill>
                <a:latin typeface="Calibri"/>
                <a:cs typeface="B Nazanin" panose="00000400000000000000" pitchFamily="2" charset="-78"/>
              </a:rPr>
              <a:t>نکته: خونگیری حتما با رعایت ترتیب ذکر شده در </a:t>
            </a:r>
            <a:r>
              <a:rPr lang="en-US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OP</a:t>
            </a:r>
            <a:r>
              <a:rPr lang="fa-IR" sz="2400" b="1" dirty="0">
                <a:solidFill>
                  <a:srgbClr val="FF0000"/>
                </a:solidFill>
                <a:latin typeface="Calibri"/>
                <a:cs typeface="B Nazanin" panose="00000400000000000000" pitchFamily="2" charset="-78"/>
              </a:rPr>
              <a:t> </a:t>
            </a:r>
            <a:r>
              <a:rPr lang="fa-IR" sz="2800" b="1" dirty="0">
                <a:solidFill>
                  <a:srgbClr val="FF0000"/>
                </a:solidFill>
                <a:latin typeface="Calibri"/>
                <a:cs typeface="B Nazanin" panose="00000400000000000000" pitchFamily="2" charset="-78"/>
              </a:rPr>
              <a:t>انجام شود. (ابتدا لوله های سرم، سپس سدیم فلوراید و در نهایت خون کامل)</a:t>
            </a:r>
            <a:endParaRPr lang="fa-IR" sz="2800" b="1" dirty="0">
              <a:solidFill>
                <a:prstClr val="black"/>
              </a:solidFill>
              <a:latin typeface="Calibri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19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2709779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10432" y="246930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cs typeface="B Nazanin" panose="00000400000000000000" pitchFamily="2" charset="-78"/>
              </a:rPr>
              <a:t>فرآیند گام سوم </a:t>
            </a:r>
            <a:r>
              <a:rPr lang="fa-IR" dirty="0" smtClean="0">
                <a:solidFill>
                  <a:schemeClr val="tx1">
                    <a:lumMod val="50000"/>
                  </a:schemeClr>
                </a:solidFill>
                <a:cs typeface="B Nazanin" panose="00000400000000000000" pitchFamily="2" charset="-78"/>
              </a:rPr>
              <a:t>مطالعه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10432" y="1533854"/>
            <a:ext cx="10464800" cy="4607984"/>
          </a:xfrm>
        </p:spPr>
        <p:txBody>
          <a:bodyPr/>
          <a:lstStyle/>
          <a:p>
            <a:pPr marL="0" indent="0">
              <a:buNone/>
            </a:pPr>
            <a:r>
              <a:rPr lang="fa-IR" dirty="0"/>
              <a:t>- </a:t>
            </a:r>
            <a: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  <a:t>اطلاع رسانی قبل از شروع نمونه گیری</a:t>
            </a:r>
            <a:b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</a:br>
            <a: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  <a:t/>
            </a:r>
            <a:b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</a:br>
            <a: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  <a:t>- </a:t>
            </a:r>
            <a:r>
              <a:rPr lang="fa-IR" b="1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وسایل مورد نیاز نمونه گیری</a:t>
            </a:r>
            <a:br>
              <a:rPr lang="fa-IR" b="1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</a:br>
            <a:r>
              <a:rPr lang="fa-IR" b="1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/>
            </a:r>
            <a:br>
              <a:rPr lang="fa-IR" b="1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</a:br>
            <a:r>
              <a:rPr lang="fa-IR" b="1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- </a:t>
            </a:r>
            <a: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  <a:t>مراحل انجام نمونه‌گیری</a:t>
            </a:r>
            <a:b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</a:br>
            <a: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  <a:t/>
            </a:r>
            <a:b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</a:br>
            <a: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  <a:t>- جداسازی نمونه های خون</a:t>
            </a:r>
            <a:b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</a:br>
            <a: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  <a:t/>
            </a:r>
            <a:b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</a:br>
            <a:r>
              <a:rPr lang="fa-IR" b="1" dirty="0">
                <a:latin typeface="Titr" panose="00000700000000000000" pitchFamily="2" charset="-78"/>
                <a:cs typeface="B Nazanin" panose="00000400000000000000" pitchFamily="2" charset="-78"/>
              </a:rPr>
              <a:t>- </a:t>
            </a:r>
            <a:r>
              <a:rPr lang="fa-IR" b="1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نگهداري موقت و ارسال نمونه‌ها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81382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437" y="230183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نمونه‌گیر موظف است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613286"/>
            <a:ext cx="10464800" cy="3861106"/>
          </a:xfrm>
        </p:spPr>
        <p:txBody>
          <a:bodyPr/>
          <a:lstStyle/>
          <a:p>
            <a:pPr marL="0" lvl="0" indent="0">
              <a:lnSpc>
                <a:spcPct val="150000"/>
              </a:lnSpc>
              <a:buNone/>
            </a:pPr>
            <a:r>
              <a:rPr lang="fa-IR" sz="2000" b="1" dirty="0" smtClean="0">
                <a:latin typeface="Titr" panose="00000700000000000000" pitchFamily="2" charset="-78"/>
                <a:cs typeface="B Nazanin" panose="00000400000000000000" pitchFamily="2" charset="-78"/>
              </a:rPr>
              <a:t>6. </a:t>
            </a:r>
            <a:r>
              <a:rPr lang="fa-IR" sz="2000" b="1" dirty="0">
                <a:latin typeface="Titr" panose="00000700000000000000" pitchFamily="2" charset="-78"/>
                <a:cs typeface="B Nazanin" panose="00000400000000000000" pitchFamily="2" charset="-78"/>
              </a:rPr>
              <a:t>در زمان خونگیری باید تمامی استانداردهای لازم برای خونگیری را رعایت کند:</a:t>
            </a:r>
            <a:endParaRPr lang="fa-IR" sz="2000" dirty="0">
              <a:latin typeface="Titr" panose="00000700000000000000" pitchFamily="2" charset="-78"/>
              <a:ea typeface="Times New Roman" panose="02020603050405020304" pitchFamily="18" charset="0"/>
              <a:cs typeface="B Nazanin" panose="00000400000000000000" pitchFamily="2" charset="-78"/>
            </a:endParaRPr>
          </a:p>
          <a:p>
            <a:pPr lvl="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>
                <a:tab pos="269240" algn="r"/>
              </a:tabLst>
            </a:pP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حداكثر به‌مدت يك دقيقه مي‌توان</a:t>
            </a:r>
            <a:r>
              <a:rPr lang="fa-IR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د</a:t>
            </a: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 از </a:t>
            </a:r>
            <a:r>
              <a:rPr lang="fa-IR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گارو</a:t>
            </a: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 استفاده ك</a:t>
            </a:r>
            <a:r>
              <a:rPr lang="fa-IR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ن</a:t>
            </a: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د</a:t>
            </a:r>
            <a:r>
              <a:rPr lang="fa-IR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.</a:t>
            </a:r>
            <a:endParaRPr lang="en-US" sz="2000" dirty="0">
              <a:latin typeface="Titr" panose="00000700000000000000" pitchFamily="2" charset="-78"/>
              <a:ea typeface="Times New Roman" panose="02020603050405020304" pitchFamily="18" charset="0"/>
              <a:cs typeface="B Nazanin" panose="00000400000000000000" pitchFamily="2" charset="-78"/>
            </a:endParaRPr>
          </a:p>
          <a:p>
            <a:pPr lvl="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  <a:tabLst>
                <a:tab pos="269240" algn="r"/>
              </a:tabLst>
            </a:pP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بلافاصله پس از خونگیری </a:t>
            </a:r>
            <a:r>
              <a:rPr lang="fa-IR" sz="2000" dirty="0" smtClean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لوله های حاوی مواد ضد انعقاد </a:t>
            </a:r>
            <a:r>
              <a:rPr lang="fa-IR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را </a:t>
            </a: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5 تا ۱۰ بار</a:t>
            </a:r>
            <a:r>
              <a:rPr lang="ar-SA" sz="2000" b="1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 به آرامی </a:t>
            </a: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سر و ته </a:t>
            </a:r>
            <a:r>
              <a:rPr lang="fa-IR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کن</a:t>
            </a: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د. </a:t>
            </a:r>
            <a:endParaRPr lang="en-US" sz="2000" dirty="0">
              <a:latin typeface="Titr" panose="00000700000000000000" pitchFamily="2" charset="-78"/>
              <a:ea typeface="Times New Roman" panose="02020603050405020304" pitchFamily="18" charset="0"/>
              <a:cs typeface="B Nazanin" panose="00000400000000000000" pitchFamily="2" charset="-78"/>
            </a:endParaRPr>
          </a:p>
          <a:p>
            <a:pPr lvl="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بعد از خون</a:t>
            </a:r>
            <a:r>
              <a:rPr lang="fa-IR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گ</a:t>
            </a: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يري، موضع را از نظر بند آمدن خون کنترل کرده و با چسب ضدحساسيت بپوشاند. </a:t>
            </a:r>
            <a:endParaRPr lang="en-US" sz="2000" dirty="0">
              <a:latin typeface="Titr" panose="00000700000000000000" pitchFamily="2" charset="-78"/>
              <a:ea typeface="Times New Roman" panose="02020603050405020304" pitchFamily="18" charset="0"/>
              <a:cs typeface="B Nazanin" panose="00000400000000000000" pitchFamily="2" charset="-78"/>
            </a:endParaRPr>
          </a:p>
          <a:p>
            <a:pPr lvl="0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بدون گذاشتن سرپوش بر روی سوزن، سوزن را در ظروف ایمن </a:t>
            </a:r>
            <a:r>
              <a:rPr lang="ar-SA" sz="1800" dirty="0">
                <a:latin typeface="Times New Roman" panose="02020603050405020304" pitchFamily="18" charset="0"/>
                <a:cs typeface="B Nazanin" panose="00000400000000000000" pitchFamily="2" charset="-78"/>
              </a:rPr>
              <a:t>(</a:t>
            </a:r>
            <a:r>
              <a:rPr lang="en-US" sz="1800" dirty="0">
                <a:latin typeface="Times New Roman" panose="02020603050405020304" pitchFamily="18" charset="0"/>
                <a:cs typeface="B Nazanin" panose="00000400000000000000" pitchFamily="2" charset="-78"/>
              </a:rPr>
              <a:t>Safety Box</a:t>
            </a:r>
            <a:r>
              <a:rPr lang="ar-SA" sz="1800" dirty="0">
                <a:latin typeface="Times New Roman" panose="02020603050405020304" pitchFamily="18" charset="0"/>
                <a:cs typeface="B Nazanin" panose="00000400000000000000" pitchFamily="2" charset="-78"/>
              </a:rPr>
              <a:t>) </a:t>
            </a: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دفع و از بريدن و يا خم‌کردن سوزن‌ها خودداري کند.</a:t>
            </a:r>
            <a:endParaRPr lang="en-US" sz="2000" dirty="0">
              <a:latin typeface="Titr" panose="00000700000000000000" pitchFamily="2" charset="-78"/>
              <a:ea typeface="Times New Roman" panose="02020603050405020304" pitchFamily="18" charset="0"/>
              <a:cs typeface="B Nazanin" panose="00000400000000000000" pitchFamily="2" charset="-78"/>
            </a:endParaRPr>
          </a:p>
          <a:p>
            <a:pPr lvl="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خونگیری از دست چپ یا راست تفاوتی ندارد و نمونه گیر می‌تواند در صورت یافتن رگ مناسب از آنها نمونه گیری نماید</a:t>
            </a:r>
            <a:r>
              <a:rPr lang="fa-IR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.</a:t>
            </a:r>
            <a:endParaRPr lang="en-US" sz="2000" dirty="0">
              <a:latin typeface="Titr" panose="00000700000000000000" pitchFamily="2" charset="-78"/>
              <a:ea typeface="Times New Roman" panose="02020603050405020304" pitchFamily="18" charset="0"/>
              <a:cs typeface="B Nazanin" panose="00000400000000000000" pitchFamily="2" charset="-78"/>
            </a:endParaRPr>
          </a:p>
          <a:p>
            <a:pPr lvl="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نمونه گیر باید کلیه نکات ایمنی را رعایت کرده و از وسایل حفاظتی شامل دستکش، روپوش، ماسک و </a:t>
            </a:r>
            <a:r>
              <a:rPr lang="fa-IR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غیره </a:t>
            </a:r>
            <a:r>
              <a:rPr lang="ar-SA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استفاده ن</a:t>
            </a:r>
            <a:r>
              <a:rPr lang="fa-IR" sz="20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ماید.</a:t>
            </a:r>
          </a:p>
          <a:p>
            <a:pPr lvl="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fa-IR" sz="2000" dirty="0">
              <a:latin typeface="Titr" panose="00000700000000000000" pitchFamily="2" charset="-78"/>
              <a:ea typeface="Times New Roman" panose="02020603050405020304" pitchFamily="18" charset="0"/>
              <a:cs typeface="B Nazanin" panose="00000400000000000000" pitchFamily="2" charset="-78"/>
            </a:endParaRPr>
          </a:p>
          <a:p>
            <a:pPr lvl="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fa-IR" sz="2000" dirty="0">
              <a:latin typeface="Titr" panose="00000700000000000000" pitchFamily="2" charset="-78"/>
              <a:ea typeface="Times New Roman" panose="02020603050405020304" pitchFamily="18" charset="0"/>
              <a:cs typeface="B Nazanin" panose="00000400000000000000" pitchFamily="2" charset="-78"/>
            </a:endParaRPr>
          </a:p>
          <a:p>
            <a:pPr lvl="0" algn="just">
              <a:lnSpc>
                <a:spcPct val="15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fa-IR" sz="2000" dirty="0">
              <a:latin typeface="Titr" panose="00000700000000000000" pitchFamily="2" charset="-78"/>
              <a:ea typeface="Times New Roman" panose="02020603050405020304" pitchFamily="18" charset="0"/>
              <a:cs typeface="B Nazanin" panose="00000400000000000000" pitchFamily="2" charset="-78"/>
            </a:endParaRPr>
          </a:p>
          <a:p>
            <a:pPr lvl="0" algn="just">
              <a:lnSpc>
                <a:spcPct val="150000"/>
              </a:lnSpc>
              <a:spcBef>
                <a:spcPts val="0"/>
              </a:spcBef>
            </a:pPr>
            <a:endParaRPr lang="en-US" sz="2400" dirty="0"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0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047041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84616" y="220850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B Nazanin" panose="00000400000000000000" pitchFamily="2" charset="-78"/>
              </a:rPr>
              <a:t>نمونه‌گیر موظف است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084616" y="1488043"/>
            <a:ext cx="10734004" cy="4653795"/>
          </a:xfrm>
        </p:spPr>
        <p:txBody>
          <a:bodyPr/>
          <a:lstStyle/>
          <a:p>
            <a:pPr marL="0" lvl="0" indent="0" algn="just">
              <a:lnSpc>
                <a:spcPct val="150000"/>
              </a:lnSpc>
              <a:spcBef>
                <a:spcPts val="0"/>
              </a:spcBef>
              <a:buSzPct val="90000"/>
              <a:buNone/>
              <a:tabLst>
                <a:tab pos="228600" algn="l"/>
              </a:tabLst>
            </a:pPr>
            <a:r>
              <a:rPr lang="fa-IR" sz="20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7. </a:t>
            </a:r>
            <a:r>
              <a:rPr lang="ar-SA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لافاصله پس از خون گیری، لوله </a:t>
            </a: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ا درپوش طوسی</a:t>
            </a:r>
            <a:r>
              <a:rPr lang="ar-SA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رنگ را در اختیار مسؤول سانتریفیوژ قرار دهد. </a:t>
            </a:r>
            <a:endParaRPr lang="fa-IR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>
              <a:lnSpc>
                <a:spcPct val="150000"/>
              </a:lnSpc>
              <a:spcBef>
                <a:spcPts val="0"/>
              </a:spcBef>
              <a:buSzPct val="90000"/>
              <a:buNone/>
              <a:tabLst>
                <a:tab pos="228600" algn="l"/>
              </a:tabLst>
            </a:pPr>
            <a:r>
              <a:rPr lang="ar-SA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گر نمونه همولیز شده است؛ پیش از خوردن صبحانه توسط </a:t>
            </a: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فرد</a:t>
            </a:r>
            <a:r>
              <a:rPr lang="ar-SA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، نمونه گیری را تکرار کند.</a:t>
            </a:r>
            <a:endParaRPr lang="en-US" sz="2000" b="1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>
              <a:lnSpc>
                <a:spcPct val="150000"/>
              </a:lnSpc>
              <a:buSzPct val="90000"/>
              <a:buNone/>
            </a:pPr>
            <a:r>
              <a:rPr lang="fa-IR" sz="20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8. </a:t>
            </a:r>
            <a:r>
              <a:rPr lang="ar-SA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ر صورت بروز هرگونه مشکلی نظير از بين رفتن نمونه در اثر ريختن که سبب حذف نمونه در حین آماده‌سازی آن گردد؛ نمونه‌گیر بايد اتفاق پیش آمده را در فرم </a:t>
            </a: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مربوطه </a:t>
            </a:r>
            <a:r>
              <a:rPr lang="ar-SA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ر تبلت ثبت کند. </a:t>
            </a:r>
            <a:endParaRPr lang="fa-IR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>
              <a:lnSpc>
                <a:spcPct val="150000"/>
              </a:lnSpc>
              <a:buSzPct val="90000"/>
              <a:buNone/>
            </a:pPr>
            <a:r>
              <a:rPr lang="fa-IR" sz="20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9. </a:t>
            </a:r>
            <a:r>
              <a:rPr lang="ar-SA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ز همكاران نمونه‌گير درخواست مي‌شود نكات مربوط به جلوگيري از هموليز نمونه‌ها را دقيقا رعايت نمايند. </a:t>
            </a:r>
            <a:endParaRPr lang="fa-IR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>
              <a:lnSpc>
                <a:spcPct val="150000"/>
              </a:lnSpc>
              <a:buSzPct val="90000"/>
              <a:buNone/>
            </a:pPr>
            <a:r>
              <a:rPr lang="ar-SA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دین منظور، موارد زير یادآوری مي‌گردد: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>
              <a:lnSpc>
                <a:spcPct val="150000"/>
              </a:lnSpc>
              <a:buSzPct val="90000"/>
              <a:buNone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- نمونه‌گيري بعد از خشك شدن الكل انجام شود (آغشتگی خون با الكل مي‌تواند باعث هموليز و نادرستی نتايج آزمايش شود)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>
              <a:lnSpc>
                <a:spcPct val="150000"/>
              </a:lnSpc>
              <a:buSzPct val="90000"/>
              <a:buNone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- از تكان دادن شديد لوله‌ها در زمان مخلوط كردن نمونه‌ها با ضد انعقاد پرهيز شود</a:t>
            </a:r>
            <a:r>
              <a:rPr lang="fa-IR" sz="20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.</a:t>
            </a:r>
            <a:endParaRPr lang="en-US" sz="2000" b="1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>
              <a:lnSpc>
                <a:spcPct val="150000"/>
              </a:lnSpc>
              <a:buSzPct val="90000"/>
              <a:buNone/>
            </a:pPr>
            <a:r>
              <a:rPr lang="fa-IR" sz="20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10. </a:t>
            </a: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ر پایان نمونه‌گیری، نمونه‌گیر موظف است اطلاعات خواسته شده را در فرم نمونه‌گیری وارد کرده و به مسؤول‌ آزمایشگاه تحویل دهد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l" rtl="0">
              <a:lnSpc>
                <a:spcPct val="150000"/>
              </a:lnSpc>
              <a:buNone/>
            </a:pP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1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0135037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40526" y="2264309"/>
            <a:ext cx="10796635" cy="1741021"/>
          </a:xfrm>
        </p:spPr>
        <p:txBody>
          <a:bodyPr/>
          <a:lstStyle/>
          <a:p>
            <a:pPr marL="0" indent="0">
              <a:buNone/>
            </a:pPr>
            <a:r>
              <a:rPr lang="fa-IR" sz="2800" b="1" dirty="0">
                <a:solidFill>
                  <a:srgbClr val="C00000"/>
                </a:solidFill>
                <a:latin typeface="Arial" pitchFamily="34" charset="0"/>
                <a:cs typeface="B Nazanin" panose="00000400000000000000" pitchFamily="2" charset="-78"/>
              </a:rPr>
              <a:t>11. </a:t>
            </a:r>
            <a:r>
              <a:rPr lang="fa-IR" sz="2800" b="1" dirty="0" smtClean="0">
                <a:solidFill>
                  <a:srgbClr val="C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نمونه‌گیر محترم </a:t>
            </a:r>
            <a:r>
              <a:rPr lang="fa-IR" sz="2800" b="1" dirty="0">
                <a:solidFill>
                  <a:srgbClr val="C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موظف است</a:t>
            </a:r>
            <a:r>
              <a:rPr lang="fa-IR" sz="2800" b="1" dirty="0">
                <a:solidFill>
                  <a:srgbClr val="C00000"/>
                </a:solidFill>
                <a:latin typeface="Arial" pitchFamily="34" charset="0"/>
                <a:cs typeface="B Nazanin" panose="00000400000000000000" pitchFamily="2" charset="-78"/>
              </a:rPr>
              <a:t> در پایان هرروز برای ارسال اطلاعات نمونه گیری آن روز، حتما </a:t>
            </a:r>
            <a:r>
              <a:rPr lang="fa-IR" sz="2800" b="1" u="sng" dirty="0">
                <a:solidFill>
                  <a:srgbClr val="C00000"/>
                </a:solidFill>
                <a:latin typeface="Arial" pitchFamily="34" charset="0"/>
                <a:cs typeface="B Nazanin" panose="00000400000000000000" pitchFamily="2" charset="-78"/>
              </a:rPr>
              <a:t>به اینترنت متصل شود </a:t>
            </a:r>
            <a:r>
              <a:rPr lang="fa-IR" sz="2800" b="1" dirty="0">
                <a:solidFill>
                  <a:srgbClr val="C00000"/>
                </a:solidFill>
                <a:latin typeface="Arial" pitchFamily="34" charset="0"/>
                <a:cs typeface="B Nazanin" panose="00000400000000000000" pitchFamily="2" charset="-78"/>
              </a:rPr>
              <a:t>و از ارسال اطلاعات به سرور اطمینان حاصل نماید.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2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609563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437" y="336760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cs typeface="B Nazanin" panose="00000400000000000000" pitchFamily="2" charset="-78"/>
              </a:rPr>
              <a:t>نمونه خون کامل </a:t>
            </a:r>
            <a:r>
              <a:rPr lang="fa-IR" sz="4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44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hole Blood</a:t>
            </a:r>
            <a:r>
              <a:rPr lang="fa-IR" sz="4400" dirty="0">
                <a:solidFill>
                  <a:schemeClr val="tx1"/>
                </a:solidFill>
                <a:cs typeface="B Nazanin" panose="00000400000000000000" pitchFamily="2" charset="-78"/>
              </a:rPr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537814"/>
            <a:ext cx="10464800" cy="1827953"/>
          </a:xfrm>
        </p:spPr>
        <p:txBody>
          <a:bodyPr/>
          <a:lstStyle/>
          <a:p>
            <a:pPr marL="0" lvl="0" indent="0" algn="just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رای جمع آوری خون کامل باید لوله 3 میلی لیتری دارای ضد انعقاد را به هولدر وصل کرده و منتظر مکش خون به داخل لوله شد؛ به طوری که حداقل 2.5 میلی لیتر خون وارد لوله شود. پس از خونگیری باید لوله حاوی خون کامل را 5 تا 10 مرتبه به آرامی سرو ته کرد و پس از آن، در یخچال 8-2 درجه سلسیوس نگهداری شود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3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748" y="3365767"/>
            <a:ext cx="2427849" cy="323713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979343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82534" y="237124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حجم کلی نمونه های جمع آوری شده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4</a:t>
            </a:fld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4314965" y="5764699"/>
            <a:ext cx="4282796" cy="838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fa-IR" sz="2400" dirty="0" smtClean="0">
                <a:solidFill>
                  <a:prstClr val="black"/>
                </a:solidFill>
                <a:cs typeface="B Nazanin" panose="00000400000000000000" pitchFamily="2" charset="-78"/>
              </a:rPr>
              <a:t>(2*7)</a:t>
            </a:r>
            <a:r>
              <a:rPr lang="en-US" sz="2400" dirty="0" smtClean="0">
                <a:solidFill>
                  <a:prstClr val="black"/>
                </a:solidFill>
                <a:cs typeface="B Nazanin" panose="00000400000000000000" pitchFamily="2" charset="-78"/>
              </a:rPr>
              <a:t> </a:t>
            </a:r>
            <a:r>
              <a:rPr lang="en-US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l</a:t>
            </a:r>
            <a:r>
              <a:rPr lang="en-US" sz="2400" dirty="0">
                <a:solidFill>
                  <a:prstClr val="black"/>
                </a:solidFill>
                <a:cs typeface="B Nazanin" panose="00000400000000000000" pitchFamily="2" charset="-78"/>
              </a:rPr>
              <a:t> </a:t>
            </a:r>
            <a:r>
              <a:rPr lang="en-US" sz="2000" dirty="0">
                <a:solidFill>
                  <a:prstClr val="black"/>
                </a:solidFill>
                <a:cs typeface="B Nazanin" panose="00000400000000000000" pitchFamily="2" charset="-78"/>
              </a:rPr>
              <a:t>+</a:t>
            </a:r>
            <a:r>
              <a:rPr lang="en-US" sz="2400" dirty="0">
                <a:solidFill>
                  <a:prstClr val="black"/>
                </a:solidFill>
                <a:cs typeface="B Nazanin" panose="00000400000000000000" pitchFamily="2" charset="-78"/>
              </a:rPr>
              <a:t> </a:t>
            </a:r>
            <a:r>
              <a:rPr lang="fa-IR" sz="2400" dirty="0" smtClean="0">
                <a:solidFill>
                  <a:prstClr val="black"/>
                </a:solidFill>
                <a:cs typeface="B Nazanin" panose="00000400000000000000" pitchFamily="2" charset="-78"/>
              </a:rPr>
              <a:t>3</a:t>
            </a:r>
            <a:r>
              <a:rPr lang="en-US" sz="2400" dirty="0" smtClean="0">
                <a:solidFill>
                  <a:prstClr val="black"/>
                </a:solidFill>
                <a:cs typeface="B Nazanin" panose="00000400000000000000" pitchFamily="2" charset="-78"/>
              </a:rPr>
              <a:t> </a:t>
            </a:r>
            <a:r>
              <a:rPr lang="en-US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l</a:t>
            </a:r>
            <a:r>
              <a:rPr lang="en-US" sz="2400" dirty="0" smtClean="0">
                <a:solidFill>
                  <a:prstClr val="black"/>
                </a:solidFill>
                <a:cs typeface="B Nazanin" panose="00000400000000000000" pitchFamily="2" charset="-78"/>
              </a:rPr>
              <a:t> </a:t>
            </a:r>
            <a:r>
              <a:rPr lang="en-US" sz="2000" dirty="0">
                <a:solidFill>
                  <a:prstClr val="black"/>
                </a:solidFill>
                <a:cs typeface="B Nazanin" panose="00000400000000000000" pitchFamily="2" charset="-78"/>
              </a:rPr>
              <a:t>+</a:t>
            </a:r>
            <a:r>
              <a:rPr lang="en-US" sz="2400" dirty="0">
                <a:solidFill>
                  <a:prstClr val="black"/>
                </a:solidFill>
                <a:cs typeface="B Nazanin" panose="00000400000000000000" pitchFamily="2" charset="-78"/>
              </a:rPr>
              <a:t> </a:t>
            </a:r>
            <a:r>
              <a:rPr lang="fa-IR" sz="2400" dirty="0" smtClean="0">
                <a:solidFill>
                  <a:prstClr val="black"/>
                </a:solidFill>
                <a:cs typeface="B Nazanin" panose="00000400000000000000" pitchFamily="2" charset="-78"/>
              </a:rPr>
              <a:t>3</a:t>
            </a:r>
            <a:r>
              <a:rPr lang="en-US" sz="2400" dirty="0" smtClean="0">
                <a:solidFill>
                  <a:prstClr val="black"/>
                </a:solidFill>
                <a:cs typeface="B Nazanin" panose="00000400000000000000" pitchFamily="2" charset="-78"/>
              </a:rPr>
              <a:t> </a:t>
            </a:r>
            <a:r>
              <a:rPr lang="en-US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l</a:t>
            </a:r>
            <a:r>
              <a:rPr lang="en-US" sz="2400" dirty="0" smtClean="0">
                <a:solidFill>
                  <a:prstClr val="black"/>
                </a:solidFill>
                <a:cs typeface="B Nazanin" panose="00000400000000000000" pitchFamily="2" charset="-78"/>
              </a:rPr>
              <a:t> </a:t>
            </a:r>
            <a:r>
              <a:rPr lang="en-US" sz="2000" dirty="0" smtClean="0">
                <a:solidFill>
                  <a:prstClr val="black"/>
                </a:solidFill>
                <a:cs typeface="B Nazanin" panose="00000400000000000000" pitchFamily="2" charset="-78"/>
              </a:rPr>
              <a:t>=</a:t>
            </a:r>
            <a:r>
              <a:rPr lang="en-US" sz="2400" dirty="0" smtClean="0">
                <a:solidFill>
                  <a:prstClr val="black"/>
                </a:solidFill>
                <a:cs typeface="B Nazanin" panose="00000400000000000000" pitchFamily="2" charset="-78"/>
              </a:rPr>
              <a:t> </a:t>
            </a:r>
            <a:r>
              <a:rPr lang="fa-IR" sz="2400" dirty="0" smtClean="0">
                <a:solidFill>
                  <a:prstClr val="black"/>
                </a:solidFill>
                <a:cs typeface="B Nazanin" panose="00000400000000000000" pitchFamily="2" charset="-78"/>
              </a:rPr>
              <a:t>20</a:t>
            </a:r>
            <a:r>
              <a:rPr lang="en-US" sz="2000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l</a:t>
            </a:r>
            <a:endParaRPr lang="en-US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142210" y="1839570"/>
            <a:ext cx="17346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2200" b="1" dirty="0" smtClean="0">
                <a:cs typeface="B Nazanin" panose="00000400000000000000" pitchFamily="2" charset="-78"/>
              </a:rPr>
              <a:t>سرم</a:t>
            </a:r>
            <a:endParaRPr lang="en-US" sz="2200" b="1" dirty="0">
              <a:cs typeface="B Nazanin" panose="00000400000000000000" pitchFamily="2" charset="-7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309128" y="1847387"/>
            <a:ext cx="176156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2200" b="1" dirty="0">
                <a:cs typeface="B Nazanin" panose="00000400000000000000" pitchFamily="2" charset="-78"/>
              </a:rPr>
              <a:t>سدیم فلوراید</a:t>
            </a:r>
            <a:endParaRPr lang="en-US" sz="2200" b="1" dirty="0">
              <a:cs typeface="B Nazanin" panose="00000400000000000000" pitchFamily="2" charset="-7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905237" y="1830959"/>
            <a:ext cx="138504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2200" b="1" dirty="0">
                <a:cs typeface="B Nazanin" panose="00000400000000000000" pitchFamily="2" charset="-78"/>
              </a:rPr>
              <a:t>خون کامل</a:t>
            </a:r>
            <a:endParaRPr lang="en-US" sz="2200" b="1" dirty="0">
              <a:cs typeface="B Nazanin" panose="00000400000000000000" pitchFamily="2" charset="-78"/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 flipH="1">
            <a:off x="6923053" y="4867050"/>
            <a:ext cx="1532688" cy="802865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/>
          <p:cNvCxnSpPr/>
          <p:nvPr/>
        </p:nvCxnSpPr>
        <p:spPr>
          <a:xfrm flipH="1">
            <a:off x="6021961" y="4749212"/>
            <a:ext cx="1" cy="959653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/>
          <p:cNvCxnSpPr/>
          <p:nvPr/>
        </p:nvCxnSpPr>
        <p:spPr>
          <a:xfrm>
            <a:off x="4009545" y="4572526"/>
            <a:ext cx="1006208" cy="103916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361" t="563" r="34696" b="23005"/>
          <a:stretch/>
        </p:blipFill>
        <p:spPr>
          <a:xfrm>
            <a:off x="5513702" y="2296992"/>
            <a:ext cx="1016450" cy="243350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999" t="5822" r="15559" b="1686"/>
          <a:stretch/>
        </p:blipFill>
        <p:spPr>
          <a:xfrm>
            <a:off x="8035845" y="2361616"/>
            <a:ext cx="1254439" cy="2477517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39" t="571" r="25417"/>
          <a:stretch/>
        </p:blipFill>
        <p:spPr>
          <a:xfrm>
            <a:off x="3026536" y="2361615"/>
            <a:ext cx="1133341" cy="219840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449573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4855013" y="1019383"/>
            <a:ext cx="6136217" cy="4607984"/>
          </a:xfrm>
        </p:spPr>
        <p:txBody>
          <a:bodyPr/>
          <a:lstStyle/>
          <a:p>
            <a:pPr marL="0" indent="0">
              <a:buNone/>
            </a:pPr>
            <a:r>
              <a:rPr lang="fa-IR" sz="4800" b="1" dirty="0">
                <a:solidFill>
                  <a:prstClr val="black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مراحل انجام جداسازی</a:t>
            </a:r>
          </a:p>
          <a:p>
            <a:pPr marL="0" indent="0">
              <a:buNone/>
            </a:pPr>
            <a:endParaRPr lang="fa-IR" sz="2800" dirty="0">
              <a:solidFill>
                <a:prstClr val="black"/>
              </a:solidFill>
              <a:latin typeface="Titr" panose="00000700000000000000" pitchFamily="2" charset="-78"/>
              <a:cs typeface="B Nazanin" panose="00000400000000000000" pitchFamily="2" charset="-78"/>
            </a:endParaRPr>
          </a:p>
          <a:p>
            <a:pPr marL="0" indent="0">
              <a:buNone/>
            </a:pPr>
            <a:r>
              <a:rPr lang="fa-IR" sz="4000" dirty="0">
                <a:solidFill>
                  <a:prstClr val="black"/>
                </a:solidFill>
                <a:cs typeface="B Nazanin" panose="00000400000000000000" pitchFamily="2" charset="-78"/>
              </a:rPr>
              <a:t>1- جداسازی پلاسما</a:t>
            </a:r>
          </a:p>
          <a:p>
            <a:pPr marL="0" indent="0">
              <a:buNone/>
            </a:pPr>
            <a:r>
              <a:rPr lang="fa-IR" sz="4000" dirty="0">
                <a:solidFill>
                  <a:prstClr val="black"/>
                </a:solidFill>
                <a:cs typeface="B Nazanin" panose="00000400000000000000" pitchFamily="2" charset="-78"/>
              </a:rPr>
              <a:t>2- جداسازی سرم</a:t>
            </a:r>
            <a:endParaRPr lang="en-US" sz="4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5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0826" y="1533854"/>
            <a:ext cx="3631215" cy="357904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493522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1475" y="401155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جداسازی نمونه </a:t>
            </a:r>
            <a:r>
              <a:rPr lang="fa-IR" dirty="0" smtClean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پلاسما سدیم فلوراید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16494" y="1485191"/>
            <a:ext cx="10464800" cy="4607984"/>
          </a:xfrm>
        </p:spPr>
        <p:txBody>
          <a:bodyPr/>
          <a:lstStyle/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ar-SA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تمامی فعالیت های مربوط به جداسازی پلاسما باید در شرایط استریل انجام شود. </a:t>
            </a:r>
            <a:endParaRPr lang="en-US" sz="2400" b="1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2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1. </a:t>
            </a:r>
            <a:r>
              <a:rPr lang="fa-IR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پس از خون گیری در لوله با سرپوش خاکستری مخصوص پلاسما که دارای ضد انعقاد است؛ باید </a:t>
            </a:r>
            <a:r>
              <a:rPr lang="fa-IR" sz="2200" b="1" u="sng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ه آرامی </a:t>
            </a:r>
            <a:r>
              <a:rPr lang="fa-IR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لوله را 5 تا 10 بار سروته کرد تا ماده ضدانعقاد و خون  به طور کامل با هم مخلوط شوند.</a:t>
            </a:r>
            <a:endParaRPr lang="en-US" sz="22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2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2.  </a:t>
            </a:r>
            <a:r>
              <a:rPr lang="fa-IR" sz="2200" b="1" u="sng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لافاصله</a:t>
            </a:r>
            <a:r>
              <a:rPr lang="fa-IR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پس از خون گیری باید لوله دارای سرپوش خاکستری رنگ را در دمای 4 درجه سلسیوس و با نیروی  </a:t>
            </a:r>
            <a:r>
              <a:rPr lang="en-US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</a:t>
            </a:r>
            <a:r>
              <a:rPr lang="fa-IR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2500 به مدت 10 دقیقه سانتریفیوژ نمود. </a:t>
            </a:r>
            <a:r>
              <a:rPr lang="ar-SA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نابراین </a:t>
            </a:r>
            <a:r>
              <a:rPr lang="fa-IR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هتر است </a:t>
            </a:r>
            <a:r>
              <a:rPr lang="ar-SA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ز سانتریفیوژ یخچال دار استفاده شود. </a:t>
            </a:r>
            <a:endParaRPr lang="en-US" sz="22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2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3. </a:t>
            </a:r>
            <a:r>
              <a:rPr lang="fa-IR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پلاسماهایی که کمی قرمز رنگ هستند؛ ممکن است محتوی گلبول قرمز باشند. بنابراین توصیه می شود که این نمونه ها با همان شرایط ذکر شده در بند 2 دوباره سانتریفیوژ شوند. این اتفاق (سانتریفیوژ کردن مجدد) باید در فرم مربوطه ثبت شود. اگر قرمزی پلاسما برطرف نشد؛ نشان دهنده وجود همولیز است که باید در فرم ثبت شود.</a:t>
            </a:r>
            <a:endParaRPr lang="en-US" sz="22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 latinLnBrk="0">
              <a:spcBef>
                <a:spcPts val="0"/>
              </a:spcBef>
              <a:buNone/>
            </a:pP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6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029629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3" y="8531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جداسازی نمونه </a:t>
            </a:r>
            <a:r>
              <a:rPr lang="fa-IR" dirty="0" smtClean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پلاسما </a:t>
            </a:r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سدیم فلوراید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815413" y="900211"/>
            <a:ext cx="10866543" cy="4928871"/>
          </a:xfrm>
        </p:spPr>
        <p:txBody>
          <a:bodyPr/>
          <a:lstStyle/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4.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پس از سانتریفیوژ شدن نمونه‌ها، پلاسمای رویی ‌با استفاده از سمپلر برداشته شده و در لوله بلند با سرپوش قرمز رنگ که از پیش تعبیه شده ریخته می شود.</a:t>
            </a:r>
            <a:endParaRPr lang="en-US" sz="24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5.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رعایت این نکته ضروریست که هنگام مکش پلاسما، بافی کوت و یا گلبول های قرمز وارد پلاسما نشوند.</a:t>
            </a:r>
          </a:p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6.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لوله حاوی پلاسما بلافاصله در یخچال 8-2 درجه سلسیوس گذاشته شود.</a:t>
            </a:r>
          </a:p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۷.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جداساز باید تمامی اطلاعات را در فرم کاغذی مربوط به جداسازی وارد نماید، سپس تمامی اطلاعات را در تبلت مربوطه وارد کند</a:t>
            </a:r>
            <a:r>
              <a:rPr lang="ar-SA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.</a:t>
            </a:r>
            <a:endParaRPr lang="fa-IR" sz="2400" dirty="0" smtClean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8.</a:t>
            </a:r>
            <a:r>
              <a:rPr lang="fa-IR" sz="28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ar-SA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زمان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جدا کردن و حجم </a:t>
            </a:r>
            <a:r>
              <a:rPr lang="fa-IR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پلاسما</a:t>
            </a:r>
            <a:r>
              <a:rPr lang="ar-SA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جدا شده </a:t>
            </a:r>
            <a:r>
              <a:rPr lang="ar-SA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اید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ر فرم جداسازی نمونه ها ثبت شود.</a:t>
            </a:r>
            <a:endParaRPr lang="en-US" sz="24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 smtClean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بديهی </a:t>
            </a:r>
            <a:r>
              <a:rPr lang="fa-IR" sz="2400" b="1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است پس از جداسازی پلاسما هر نمونه، سرسمپلر باید تعویض شود و از استفاده مجدد سر سمپلر برای چند جداسازی جداً اجتناب شود.</a:t>
            </a:r>
            <a:endParaRPr lang="en-US" sz="2400" b="1" dirty="0">
              <a:solidFill>
                <a:srgbClr val="B8184A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ar-SA" sz="2400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توجه: از خالی کردن پلاسما  به‏صورت یکباره و بدون استفاه از سمپلر، </a:t>
            </a:r>
            <a:r>
              <a:rPr lang="ar-SA" sz="2400" b="1" u="sng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اکیدا خودداری شود</a:t>
            </a:r>
            <a:r>
              <a:rPr lang="ar-SA" sz="2400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.</a:t>
            </a:r>
            <a:endParaRPr lang="en-US" sz="2400" dirty="0">
              <a:solidFill>
                <a:srgbClr val="B8184A"/>
              </a:solidFill>
              <a:latin typeface="맑은 고딕"/>
              <a:cs typeface="B Nazanin" panose="00000400000000000000" pitchFamily="2" charset="-78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186270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1428" y="278613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جداسازی نمونه </a:t>
            </a:r>
            <a:r>
              <a:rPr lang="fa-IR" dirty="0" smtClean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پلاسما </a:t>
            </a:r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سدیم فلوراید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8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1875198" y="1849841"/>
            <a:ext cx="8934580" cy="3957640"/>
            <a:chOff x="1253172" y="1747132"/>
            <a:chExt cx="8934580" cy="3957640"/>
          </a:xfrm>
        </p:grpSpPr>
        <p:cxnSp>
          <p:nvCxnSpPr>
            <p:cNvPr id="6" name="Straight Arrow Connector 5"/>
            <p:cNvCxnSpPr/>
            <p:nvPr/>
          </p:nvCxnSpPr>
          <p:spPr>
            <a:xfrm>
              <a:off x="5896585" y="4027351"/>
              <a:ext cx="1012062" cy="0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7" name="TextBox 6"/>
            <p:cNvSpPr txBox="1"/>
            <p:nvPr/>
          </p:nvSpPr>
          <p:spPr>
            <a:xfrm>
              <a:off x="1253172" y="1747132"/>
              <a:ext cx="4261026" cy="707886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pPr algn="ctr" rtl="1"/>
              <a:r>
                <a:rPr lang="fa-IR" sz="2000" b="1" dirty="0" smtClean="0">
                  <a:solidFill>
                    <a:prstClr val="black"/>
                  </a:solidFill>
                  <a:cs typeface="B Nazanin" panose="00000400000000000000" pitchFamily="2" charset="-78"/>
                </a:rPr>
                <a:t>نمونه سانتریفیوژ شده برای جداسازی پلاسما سدیم فلوراید</a:t>
              </a:r>
              <a:endParaRPr lang="fa-IR" sz="2000" b="1" dirty="0">
                <a:solidFill>
                  <a:prstClr val="black"/>
                </a:solidFill>
                <a:cs typeface="B Nazanin" panose="00000400000000000000" pitchFamily="2" charset="-78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6684699" y="1747132"/>
              <a:ext cx="3503053" cy="400110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pPr algn="r" rtl="1"/>
              <a:r>
                <a:rPr lang="fa-IR" sz="2000" b="1" dirty="0" smtClean="0">
                  <a:solidFill>
                    <a:prstClr val="black"/>
                  </a:solidFill>
                  <a:cs typeface="B Nazanin" panose="00000400000000000000" pitchFamily="2" charset="-78"/>
                </a:rPr>
                <a:t>لوله واسط 5 سی سی با درپوش قرمز</a:t>
              </a:r>
              <a:endParaRPr lang="fa-IR" sz="2000" b="1" dirty="0">
                <a:solidFill>
                  <a:prstClr val="black"/>
                </a:solidFill>
                <a:cs typeface="B Nazanin" panose="00000400000000000000" pitchFamily="2" charset="-78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2331790" y="2621937"/>
              <a:ext cx="3213093" cy="3082835"/>
              <a:chOff x="1971181" y="2325720"/>
              <a:chExt cx="3213093" cy="3082835"/>
            </a:xfrm>
          </p:grpSpPr>
          <p:pic>
            <p:nvPicPr>
              <p:cNvPr id="12" name="Picture 11"/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16" t="21477" r="43575" b="1795"/>
              <a:stretch/>
            </p:blipFill>
            <p:spPr>
              <a:xfrm>
                <a:off x="1971181" y="2325720"/>
                <a:ext cx="1476104" cy="3082835"/>
              </a:xfrm>
              <a:prstGeom prst="rect">
                <a:avLst/>
              </a:prstGeom>
            </p:spPr>
          </p:pic>
          <p:cxnSp>
            <p:nvCxnSpPr>
              <p:cNvPr id="13" name="Straight Arrow Connector 12"/>
              <p:cNvCxnSpPr/>
              <p:nvPr/>
            </p:nvCxnSpPr>
            <p:spPr>
              <a:xfrm>
                <a:off x="3148149" y="3331029"/>
                <a:ext cx="702156" cy="3886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Arrow Connector 13"/>
              <p:cNvCxnSpPr/>
              <p:nvPr/>
            </p:nvCxnSpPr>
            <p:spPr>
              <a:xfrm>
                <a:off x="3102987" y="3976036"/>
                <a:ext cx="702156" cy="3886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Arrow Connector 14"/>
              <p:cNvCxnSpPr/>
              <p:nvPr/>
            </p:nvCxnSpPr>
            <p:spPr>
              <a:xfrm>
                <a:off x="3102987" y="4685998"/>
                <a:ext cx="702156" cy="3886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6" name="TextBox 15"/>
              <p:cNvSpPr txBox="1"/>
              <p:nvPr/>
            </p:nvSpPr>
            <p:spPr>
              <a:xfrm>
                <a:off x="3865173" y="3146363"/>
                <a:ext cx="64472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a-IR" dirty="0" smtClean="0"/>
                  <a:t>پلاسما</a:t>
                </a:r>
                <a:endParaRPr lang="en-US" dirty="0"/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3805143" y="3809610"/>
                <a:ext cx="1348446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a-IR" dirty="0" smtClean="0"/>
                  <a:t>گلبول های سفید</a:t>
                </a:r>
                <a:endParaRPr lang="en-US" dirty="0"/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3776516" y="4501332"/>
                <a:ext cx="140775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a-IR" dirty="0" smtClean="0"/>
                  <a:t>گلبول های قرمز</a:t>
                </a:r>
                <a:endParaRPr lang="en-US" dirty="0"/>
              </a:p>
            </p:txBody>
          </p:sp>
        </p:grpSp>
        <p:cxnSp>
          <p:nvCxnSpPr>
            <p:cNvPr id="10" name="Straight Arrow Connector 9"/>
            <p:cNvCxnSpPr>
              <a:endCxn id="7" idx="2"/>
            </p:cNvCxnSpPr>
            <p:nvPr/>
          </p:nvCxnSpPr>
          <p:spPr>
            <a:xfrm flipH="1" flipV="1">
              <a:off x="3383685" y="2455018"/>
              <a:ext cx="79912" cy="166920"/>
            </a:xfrm>
            <a:prstGeom prst="straightConnector1">
              <a:avLst/>
            </a:prstGeom>
            <a:ln w="28575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727" r="296" b="42345"/>
            <a:stretch/>
          </p:blipFill>
          <p:spPr>
            <a:xfrm rot="16200000">
              <a:off x="7139853" y="3587190"/>
              <a:ext cx="3082835" cy="1152327"/>
            </a:xfrm>
            <a:prstGeom prst="rect">
              <a:avLst/>
            </a:prstGeom>
          </p:spPr>
        </p:pic>
      </p:grpSp>
      <p:sp>
        <p:nvSpPr>
          <p:cNvPr id="19" name="TextBox 18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023663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05565" y="349639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cs typeface="B Nazanin" panose="00000400000000000000" pitchFamily="2" charset="-78"/>
              </a:rPr>
              <a:t>جداسازی نمونه سرم خون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000584" y="1533854"/>
            <a:ext cx="10464800" cy="4607984"/>
          </a:xfrm>
        </p:spPr>
        <p:txBody>
          <a:bodyPr/>
          <a:lstStyle/>
          <a:p>
            <a:pPr marL="0" lvl="0" indent="0" algn="just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ar-SA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تمامی فعالیت های مربوط به جداسازی </a:t>
            </a:r>
            <a:r>
              <a:rPr lang="fa-IR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سرم </a:t>
            </a:r>
            <a:r>
              <a:rPr lang="ar-SA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اید در شرایط استریل انجام شود. </a:t>
            </a:r>
            <a:endParaRPr lang="en-US" sz="2400" b="1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ar-SA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1.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پس از خون گیری در لوله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های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مخصوص لخته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با سرپوش قرمز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،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اید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لوله ها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را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چندین بار </a:t>
            </a:r>
            <a:r>
              <a:rPr lang="ar-SA" sz="2400" b="1" u="sng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ه آرامی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سروته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نمود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.</a:t>
            </a:r>
            <a:endParaRPr lang="en-US" sz="24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2</a:t>
            </a:r>
            <a:r>
              <a:rPr lang="ar-SA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.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پس از خون گیری، لوله های خلاء با سرپوش قرمز رنگ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ه مدت </a:t>
            </a:r>
            <a:r>
              <a:rPr lang="ar-SA" sz="2400" b="1" u="sng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سی تا شصت دقیقه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ر </a:t>
            </a:r>
            <a:r>
              <a:rPr lang="ar-SA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مای </a:t>
            </a:r>
            <a:r>
              <a:rPr lang="fa-IR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تاق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قرار داده ‌شو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ن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 تا فرآیند لخته شدن انجام شود. </a:t>
            </a:r>
            <a:endParaRPr lang="en-US" sz="24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3</a:t>
            </a:r>
            <a:r>
              <a:rPr lang="ar-SA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.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لوله ها باید در دمای 4 درجه سلسیوس و به مدت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10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دقیقه با نیروی </a:t>
            </a:r>
            <a:r>
              <a:rPr lang="en-US" sz="2400" dirty="0">
                <a:solidFill>
                  <a:prstClr val="black"/>
                </a:solidFill>
                <a:latin typeface="Times New Roman" panose="02020603050405020304" pitchFamily="18" charset="0"/>
                <a:cs typeface="B Nazanin" panose="00000400000000000000" pitchFamily="2" charset="-78"/>
              </a:rPr>
              <a:t>g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2500 سانتریف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ی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وژ شوند؛ بنابراین،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هتر است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ز سانتریفیوژ یخچالدار استفاده شود.</a:t>
            </a:r>
            <a:endParaRPr lang="en-US" sz="24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29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645919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4810" y="336760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اطلاع رسانی قبل از شروع نمونه گیری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79713" y="1533854"/>
            <a:ext cx="10724607" cy="4607984"/>
          </a:xfrm>
        </p:spPr>
        <p:txBody>
          <a:bodyPr/>
          <a:lstStyle/>
          <a:p>
            <a:pPr marL="0" lvl="0" indent="0" algn="just">
              <a:buNone/>
            </a:pPr>
            <a:r>
              <a:rPr lang="fa-IR" sz="2400" b="1" dirty="0">
                <a:cs typeface="B Nazanin" panose="00000400000000000000" pitchFamily="2" charset="-78"/>
              </a:rPr>
              <a:t>وضعیت ناشتایی</a:t>
            </a:r>
          </a:p>
          <a:p>
            <a:pPr marL="0" indent="0" algn="just">
              <a:lnSpc>
                <a:spcPct val="150000"/>
              </a:lnSpc>
              <a:buNone/>
            </a:pPr>
            <a:r>
              <a:rPr lang="ar-SA" sz="2400" dirty="0">
                <a:solidFill>
                  <a:srgbClr val="0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فرد ناشتا به کسی گفته می شود که </a:t>
            </a:r>
            <a:r>
              <a:rPr lang="fa-IR" sz="2400" dirty="0" smtClean="0">
                <a:solidFill>
                  <a:srgbClr val="0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8 تا </a:t>
            </a:r>
            <a:r>
              <a:rPr lang="ar-SA" sz="2400" dirty="0" smtClean="0">
                <a:solidFill>
                  <a:srgbClr val="0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12ساعت </a:t>
            </a:r>
            <a:r>
              <a:rPr lang="ar-SA" sz="2400" dirty="0">
                <a:solidFill>
                  <a:srgbClr val="0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قبل از نمونه گیری، جز آب و داروی تجویز شده توسط پزشک معالجش، چیز دیگری نخورده و ننوشیده باشد. بدیهی است که افراد در طول این مدت باید از استعمال سیگار، قلیان و نیز نوشیدن مشروبات الکلی خودداری کنند</a:t>
            </a:r>
            <a:r>
              <a:rPr lang="fa-IR" sz="2400" dirty="0">
                <a:solidFill>
                  <a:srgbClr val="0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.</a:t>
            </a:r>
          </a:p>
          <a:p>
            <a:pPr marL="0" lvl="0" indent="0" algn="just">
              <a:buNone/>
            </a:pPr>
            <a:endParaRPr lang="fa-IR" sz="2400" b="1" dirty="0">
              <a:solidFill>
                <a:srgbClr val="002060"/>
              </a:solidFill>
              <a:cs typeface="B Nazanin" panose="00000400000000000000" pitchFamily="2" charset="-78"/>
            </a:endParaRPr>
          </a:p>
          <a:p>
            <a:pPr marL="0" lvl="0" indent="0" algn="just">
              <a:buNone/>
            </a:pPr>
            <a:r>
              <a:rPr lang="fa-IR" sz="2400" b="1" dirty="0">
                <a:cs typeface="B Nazanin" panose="00000400000000000000" pitchFamily="2" charset="-78"/>
              </a:rPr>
              <a:t>محل و ساعت نمونه گیری</a:t>
            </a:r>
            <a:endParaRPr lang="en-US" sz="2400" b="1" dirty="0">
              <a:cs typeface="B Nazanin" panose="00000400000000000000" pitchFamily="2" charset="-78"/>
            </a:endParaRPr>
          </a:p>
          <a:p>
            <a:pPr marL="0" lvl="0" indent="0" algn="just">
              <a:lnSpc>
                <a:spcPct val="150000"/>
              </a:lnSpc>
              <a:buNone/>
            </a:pPr>
            <a:r>
              <a:rPr lang="fa-IR" sz="2000" dirty="0" smtClean="0">
                <a:solidFill>
                  <a:srgbClr val="0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**</a:t>
            </a:r>
            <a:r>
              <a:rPr lang="fa-IR" sz="2400" dirty="0">
                <a:solidFill>
                  <a:srgbClr val="0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پرسشگر پس از پرسشگری گام یک و دو</a:t>
            </a:r>
            <a:r>
              <a:rPr lang="ar-SA" sz="2400" dirty="0">
                <a:solidFill>
                  <a:srgbClr val="0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،</a:t>
            </a:r>
            <a:r>
              <a:rPr lang="fa-IR" sz="2400" dirty="0">
                <a:solidFill>
                  <a:srgbClr val="000000"/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 کارتی شامل مشخصات فرد و برگه آمادگی فرد شامل شرایط لازم برای نمونه گیری، محل و تاریخ مراجعه به آزمایشگاه را به شرکت کننده می دهد. </a:t>
            </a:r>
            <a:endParaRPr lang="en-US" sz="2400" dirty="0">
              <a:cs typeface="B Nazanin" panose="00000400000000000000" pitchFamily="2" charset="-78"/>
            </a:endParaRPr>
          </a:p>
          <a:p>
            <a:pPr marL="0" indent="0" algn="just">
              <a:buNone/>
            </a:pP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6028435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437" y="298163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cs typeface="B Nazanin" panose="00000400000000000000" pitchFamily="2" charset="-78"/>
              </a:rPr>
              <a:t>جداسازی نمونه سرم </a:t>
            </a:r>
            <a:r>
              <a:rPr lang="fa-IR" dirty="0" smtClean="0">
                <a:solidFill>
                  <a:schemeClr val="tx1"/>
                </a:solidFill>
                <a:cs typeface="B Nazanin" panose="00000400000000000000" pitchFamily="2" charset="-78"/>
              </a:rPr>
              <a:t>خون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467015"/>
            <a:ext cx="10464800" cy="3976793"/>
          </a:xfrm>
        </p:spPr>
        <p:txBody>
          <a:bodyPr/>
          <a:lstStyle/>
          <a:p>
            <a:pPr marL="0" lvl="0" indent="0" algn="just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ar-SA" sz="20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4. </a:t>
            </a:r>
            <a:r>
              <a:rPr lang="ar-SA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ا استفاده از سمپلر، سرم به دست آمده از لوله‌های لخته</a:t>
            </a:r>
            <a:r>
              <a:rPr lang="fa-IR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را</a:t>
            </a:r>
            <a:r>
              <a:rPr lang="ar-SA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درون لوله 9 میلی لیتری با سرپوش سفید رنگ ریخته و بلافاصله به </a:t>
            </a:r>
            <a:r>
              <a:rPr lang="fa-IR" sz="22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یخچال 8-2 درجه سلسیوس منتقل شود.</a:t>
            </a:r>
          </a:p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2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5.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زمان جدا کردن و حجم سرم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جدا شده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ز لخته باید در فرم جداسازی نمونه ها ثبت شود</a:t>
            </a:r>
            <a:r>
              <a:rPr lang="ar-SA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.</a:t>
            </a:r>
            <a:endParaRPr lang="fa-IR" sz="2400" dirty="0" smtClean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6. </a:t>
            </a:r>
            <a:r>
              <a:rPr lang="ar-SA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جداساز باید تمامی اطلاعات را در فرم کاغذی مربوط به جداسازی وارد نماید، سپس تمامی اطلاعات را در تبلت مربوطه وارد کند.</a:t>
            </a:r>
            <a:endParaRPr lang="fa-IR" sz="24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بديهی است پس از جداسازی </a:t>
            </a:r>
            <a:r>
              <a:rPr lang="fa-IR" sz="2400" b="1" dirty="0" smtClean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سرم </a:t>
            </a:r>
            <a:r>
              <a:rPr lang="fa-IR" sz="2400" b="1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هر نمونه، سرسمپلر باید تعویض شود و از استفاده مجدد سر سمپلر برای چند جداسازی جداً اجتناب شود.</a:t>
            </a:r>
            <a:endParaRPr lang="en-US" sz="2400" b="1" dirty="0">
              <a:solidFill>
                <a:srgbClr val="B8184A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b="1" dirty="0" smtClean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توجه</a:t>
            </a:r>
            <a:r>
              <a:rPr lang="fa-IR" sz="2400" b="1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: </a:t>
            </a:r>
            <a:r>
              <a:rPr lang="ar-SA" sz="2400" b="1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از خالی کردن سرم به</a:t>
            </a:r>
            <a:r>
              <a:rPr lang="fa-IR" sz="2400" b="1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ar-SA" sz="2400" b="1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‏صورت یکباره و بدون استفاه از سمپلر (جداسازی مستقیم سرم با کج کردن لوله) </a:t>
            </a:r>
            <a:r>
              <a:rPr lang="ar-SA" sz="2400" b="1" u="sng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اکیداً خودداری شود</a:t>
            </a:r>
            <a:r>
              <a:rPr lang="ar-SA" sz="2400" b="1" dirty="0">
                <a:solidFill>
                  <a:srgbClr val="B8184A"/>
                </a:solidFill>
                <a:latin typeface="맑은 고딕"/>
                <a:cs typeface="B Nazanin" panose="00000400000000000000" pitchFamily="2" charset="-78"/>
              </a:rPr>
              <a:t>.</a:t>
            </a:r>
            <a:endParaRPr lang="en-US" sz="2400" b="1" dirty="0">
              <a:solidFill>
                <a:srgbClr val="B8184A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0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0244704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456" y="284515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cs typeface="B Nazanin" panose="00000400000000000000" pitchFamily="2" charset="-78"/>
              </a:rPr>
              <a:t>جداسازی نمونه سرم </a:t>
            </a:r>
            <a:r>
              <a:rPr lang="fa-IR" dirty="0" smtClean="0">
                <a:solidFill>
                  <a:schemeClr val="tx1"/>
                </a:solidFill>
                <a:cs typeface="B Nazanin" panose="00000400000000000000" pitchFamily="2" charset="-78"/>
              </a:rPr>
              <a:t>خون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1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4743" y="2638966"/>
            <a:ext cx="2280073" cy="3040097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2227935" y="1950817"/>
            <a:ext cx="9147297" cy="2799619"/>
            <a:chOff x="1582735" y="1993570"/>
            <a:chExt cx="9147297" cy="2799619"/>
          </a:xfrm>
        </p:grpSpPr>
        <p:cxnSp>
          <p:nvCxnSpPr>
            <p:cNvPr id="7" name="Straight Arrow Connector 6"/>
            <p:cNvCxnSpPr/>
            <p:nvPr/>
          </p:nvCxnSpPr>
          <p:spPr>
            <a:xfrm flipV="1">
              <a:off x="5957610" y="4201768"/>
              <a:ext cx="1331705" cy="11752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8" name="TextBox 7"/>
            <p:cNvSpPr txBox="1"/>
            <p:nvPr/>
          </p:nvSpPr>
          <p:spPr>
            <a:xfrm>
              <a:off x="6969870" y="1993570"/>
              <a:ext cx="3760162" cy="461665"/>
            </a:xfrm>
            <a:prstGeom prst="rect">
              <a:avLst/>
            </a:prstGeom>
            <a:noFill/>
          </p:spPr>
          <p:txBody>
            <a:bodyPr wrap="square" rtlCol="1">
              <a:spAutoFit/>
            </a:bodyPr>
            <a:lstStyle/>
            <a:p>
              <a:r>
                <a:rPr lang="fa-IR" sz="2400" b="1" dirty="0">
                  <a:solidFill>
                    <a:prstClr val="black"/>
                  </a:solidFill>
                  <a:cs typeface="B Nazanin" panose="00000400000000000000" pitchFamily="2" charset="-78"/>
                </a:rPr>
                <a:t>لوله واسط 9 سی سی </a:t>
              </a:r>
              <a:r>
                <a:rPr lang="fa-IR" sz="2400" b="1" dirty="0" smtClean="0">
                  <a:solidFill>
                    <a:prstClr val="black"/>
                  </a:solidFill>
                  <a:cs typeface="B Nazanin" panose="00000400000000000000" pitchFamily="2" charset="-78"/>
                </a:rPr>
                <a:t>سرم</a:t>
              </a:r>
              <a:endParaRPr lang="fa-IR" sz="2400" b="1" dirty="0">
                <a:solidFill>
                  <a:prstClr val="black"/>
                </a:solidFill>
                <a:cs typeface="B Nazanin" panose="00000400000000000000" pitchFamily="2" charset="-78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1582735" y="1993571"/>
              <a:ext cx="4579522" cy="2799618"/>
              <a:chOff x="2264090" y="1993571"/>
              <a:chExt cx="4579522" cy="2799618"/>
            </a:xfrm>
          </p:grpSpPr>
          <p:sp>
            <p:nvSpPr>
              <p:cNvPr id="10" name="TextBox 9"/>
              <p:cNvSpPr txBox="1"/>
              <p:nvPr/>
            </p:nvSpPr>
            <p:spPr>
              <a:xfrm>
                <a:off x="2264090" y="1993571"/>
                <a:ext cx="3359604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 rtl="1"/>
                <a:r>
                  <a:rPr lang="fa-IR" sz="2400" b="1" dirty="0" smtClean="0">
                    <a:solidFill>
                      <a:prstClr val="black"/>
                    </a:solidFill>
                    <a:cs typeface="B Nazanin" panose="00000400000000000000" pitchFamily="2" charset="-78"/>
                  </a:rPr>
                  <a:t>نمونه سرم پس از سانتریفیوژ</a:t>
                </a:r>
                <a:endParaRPr lang="en-US" sz="2400" b="1" dirty="0">
                  <a:cs typeface="B Nazanin" panose="00000400000000000000" pitchFamily="2" charset="-78"/>
                </a:endParaRPr>
              </a:p>
            </p:txBody>
          </p:sp>
          <p:cxnSp>
            <p:nvCxnSpPr>
              <p:cNvPr id="11" name="Straight Arrow Connector 10"/>
              <p:cNvCxnSpPr/>
              <p:nvPr/>
            </p:nvCxnSpPr>
            <p:spPr>
              <a:xfrm>
                <a:off x="3940935" y="4582732"/>
                <a:ext cx="1204776" cy="12879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TextBox 11"/>
              <p:cNvSpPr txBox="1"/>
              <p:nvPr/>
            </p:nvSpPr>
            <p:spPr>
              <a:xfrm>
                <a:off x="5108475" y="3809551"/>
                <a:ext cx="580608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a-IR" sz="2400" dirty="0" smtClean="0">
                    <a:cs typeface="B Nazanin" panose="00000400000000000000" pitchFamily="2" charset="-78"/>
                  </a:rPr>
                  <a:t>سرم</a:t>
                </a:r>
                <a:endParaRPr lang="en-US" dirty="0">
                  <a:cs typeface="B Nazanin" panose="00000400000000000000" pitchFamily="2" charset="-78"/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5145711" y="4331524"/>
                <a:ext cx="1697901" cy="461665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fa-IR" sz="2400" dirty="0" smtClean="0">
                    <a:cs typeface="B Nazanin" panose="00000400000000000000" pitchFamily="2" charset="-78"/>
                  </a:rPr>
                  <a:t>گلبول های قرمز</a:t>
                </a:r>
                <a:endParaRPr lang="en-US" sz="2400" dirty="0">
                  <a:cs typeface="B Nazanin" panose="00000400000000000000" pitchFamily="2" charset="-78"/>
                </a:endParaRPr>
              </a:p>
            </p:txBody>
          </p:sp>
          <p:cxnSp>
            <p:nvCxnSpPr>
              <p:cNvPr id="14" name="Straight Arrow Connector 13"/>
              <p:cNvCxnSpPr/>
              <p:nvPr/>
            </p:nvCxnSpPr>
            <p:spPr>
              <a:xfrm>
                <a:off x="3940935" y="4027503"/>
                <a:ext cx="1204776" cy="12879"/>
              </a:xfrm>
              <a:prstGeom prst="straightConnector1">
                <a:avLst/>
              </a:prstGeom>
              <a:ln w="28575">
                <a:solidFill>
                  <a:schemeClr val="tx1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405" t="19699" r="11278" b="1721"/>
          <a:stretch/>
        </p:blipFill>
        <p:spPr>
          <a:xfrm>
            <a:off x="8820032" y="2638967"/>
            <a:ext cx="1278262" cy="3040096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381856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2991" y="220850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cs typeface="B Nazanin" panose="00000400000000000000" pitchFamily="2" charset="-78"/>
              </a:rPr>
              <a:t>تبدیل</a:t>
            </a:r>
            <a:r>
              <a:rPr lang="en-US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 </a:t>
            </a:r>
            <a:r>
              <a:rPr lang="fa-IR" dirty="0" smtClean="0">
                <a:solidFill>
                  <a:schemeClr val="tx1"/>
                </a:solidFill>
                <a:cs typeface="B Nazanin" panose="00000400000000000000" pitchFamily="2" charset="-78"/>
              </a:rPr>
              <a:t>  </a:t>
            </a:r>
            <a:r>
              <a:rPr lang="fa-IR" dirty="0">
                <a:solidFill>
                  <a:schemeClr val="tx1"/>
                </a:solidFill>
                <a:cs typeface="B Nazanin" panose="00000400000000000000" pitchFamily="2" charset="-78"/>
              </a:rPr>
              <a:t>به دور در دقیقه</a:t>
            </a:r>
            <a:endParaRPr lang="en-US" dirty="0">
              <a:cs typeface="B Nazanin" panose="00000400000000000000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315366" y="1488043"/>
            <a:ext cx="10464800" cy="2553677"/>
          </a:xfrm>
        </p:spPr>
        <p:txBody>
          <a:bodyPr/>
          <a:lstStyle/>
          <a:p>
            <a:pPr marL="0" lvl="0" indent="0" algn="justLow" defTabSz="914400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در صورت نیاز برای تبدیل </a:t>
            </a:r>
            <a:r>
              <a:rPr lang="en-US" sz="2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500g</a:t>
            </a:r>
            <a:r>
              <a:rPr lang="fa-IR" sz="24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 به دور در دقیقه، کارشناسان آزمایشگاه باید به دستورالعمل سانتریفیوژ موجود در آزمایشگاه مراجعه کنند. </a:t>
            </a:r>
            <a:endParaRPr lang="en-US" sz="2000" dirty="0">
              <a:solidFill>
                <a:prstClr val="black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lvl="0" indent="0" algn="justLow" defTabSz="914400" rtl="0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en-US" sz="2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g= 1.118 ×10</a:t>
            </a:r>
            <a:r>
              <a:rPr lang="en-US" sz="2400" baseline="300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5</a:t>
            </a:r>
            <a:r>
              <a:rPr lang="en-US" sz="2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× r ×n</a:t>
            </a:r>
            <a:r>
              <a:rPr lang="en-US" sz="2400" baseline="300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en-US" sz="2000" dirty="0">
              <a:solidFill>
                <a:prstClr val="black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14350" lvl="0" indent="0" defTabSz="914400" latinLnBrk="0">
              <a:lnSpc>
                <a:spcPct val="115000"/>
              </a:lnSpc>
              <a:spcBef>
                <a:spcPts val="0"/>
              </a:spcBef>
              <a:buNone/>
            </a:pPr>
            <a:r>
              <a:rPr lang="en-US" sz="2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r</a:t>
            </a:r>
            <a:r>
              <a:rPr lang="fa-IR" sz="2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fa-IR" sz="2400" dirty="0">
                <a:solidFill>
                  <a:srgbClr val="0000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B Nazanin" panose="00000400000000000000" pitchFamily="2" charset="-78"/>
              </a:rPr>
              <a:t>= </a:t>
            </a:r>
            <a:r>
              <a:rPr lang="ar-SA" sz="2400" dirty="0">
                <a:solidFill>
                  <a:srgbClr val="0000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B Nazanin" panose="00000400000000000000" pitchFamily="2" charset="-78"/>
              </a:rPr>
              <a:t>شعاع بر حسب سانتی متر از مرکز چرخش تا لوله سانتریف</a:t>
            </a:r>
            <a:r>
              <a:rPr lang="fa-IR" sz="2400" dirty="0">
                <a:solidFill>
                  <a:srgbClr val="0000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B Nazanin" panose="00000400000000000000" pitchFamily="2" charset="-78"/>
              </a:rPr>
              <a:t>ی</a:t>
            </a:r>
            <a:r>
              <a:rPr lang="ar-SA" sz="2400" dirty="0">
                <a:solidFill>
                  <a:srgbClr val="0000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B Nazanin" panose="00000400000000000000" pitchFamily="2" charset="-78"/>
              </a:rPr>
              <a:t>وژ در محفظه روتور</a:t>
            </a:r>
            <a:endParaRPr lang="en-US" sz="2000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514350" lvl="0" indent="0" defTabSz="914400" latinLnBrk="0">
              <a:lnSpc>
                <a:spcPct val="115000"/>
              </a:lnSpc>
              <a:spcBef>
                <a:spcPts val="0"/>
              </a:spcBef>
              <a:buNone/>
            </a:pPr>
            <a:r>
              <a:rPr lang="en-US" sz="2400" dirty="0">
                <a:solidFill>
                  <a:prstClr val="black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n</a:t>
            </a:r>
            <a:r>
              <a:rPr lang="ar-SA" sz="2400" dirty="0">
                <a:solidFill>
                  <a:srgbClr val="0000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B Nazanin" panose="00000400000000000000" pitchFamily="2" charset="-78"/>
              </a:rPr>
              <a:t> = سرعت چرخش روتور بر حسب</a:t>
            </a:r>
            <a:r>
              <a:rPr lang="en-US" sz="24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rpm</a:t>
            </a:r>
            <a:r>
              <a:rPr lang="en-US" sz="2400" dirty="0">
                <a:solidFill>
                  <a:srgbClr val="000000"/>
                </a:solidFill>
                <a:latin typeface="Tahoma" panose="020B0604030504040204" pitchFamily="34" charset="0"/>
                <a:ea typeface="Times New Roman" panose="02020603050405020304" pitchFamily="18" charset="0"/>
                <a:cs typeface="B Nazanin" panose="00000400000000000000" pitchFamily="2" charset="-78"/>
              </a:rPr>
              <a:t> </a:t>
            </a:r>
            <a:endParaRPr lang="en-US" sz="2000" dirty="0">
              <a:solidFill>
                <a:prstClr val="black"/>
              </a:solidFill>
              <a:latin typeface="Calibri" panose="020F050202020403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US" sz="4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2</a:t>
            </a:fld>
            <a:endParaRPr lang="en-US" dirty="0"/>
          </a:p>
        </p:txBody>
      </p:sp>
      <p:graphicFrame>
        <p:nvGraphicFramePr>
          <p:cNvPr id="5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56839444"/>
              </p:ext>
            </p:extLst>
          </p:nvPr>
        </p:nvGraphicFramePr>
        <p:xfrm>
          <a:off x="2879192" y="4373998"/>
          <a:ext cx="6354986" cy="1767840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17749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774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7819">
                <a:tc>
                  <a:txBody>
                    <a:bodyPr/>
                    <a:lstStyle/>
                    <a:p>
                      <a:pPr algn="ctr"/>
                      <a:r>
                        <a:rPr lang="fa-IR" sz="2000" dirty="0" smtClean="0">
                          <a:solidFill>
                            <a:schemeClr val="tx1"/>
                          </a:solidFill>
                          <a:cs typeface="B Nazanin" panose="00000400000000000000" pitchFamily="2" charset="-78"/>
                        </a:rPr>
                        <a:t>شعاع(سانتی متر)</a:t>
                      </a:r>
                      <a:endParaRPr lang="en-US" sz="2000" b="1" dirty="0">
                        <a:solidFill>
                          <a:schemeClr val="tx1"/>
                        </a:solidFill>
                        <a:cs typeface="B Nazanin" panose="00000400000000000000" pitchFamily="2" charset="-7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</a:t>
                      </a:r>
                      <a:r>
                        <a:rPr lang="fa-IR" sz="2000" baseline="0" dirty="0" smtClean="0">
                          <a:solidFill>
                            <a:schemeClr val="tx1"/>
                          </a:solidFill>
                          <a:cs typeface="B Nazanin" panose="00000400000000000000" pitchFamily="2" charset="-78"/>
                        </a:rPr>
                        <a:t> (دور در دقیقه) </a:t>
                      </a:r>
                      <a:endParaRPr lang="en-US" sz="2000" b="1" dirty="0">
                        <a:solidFill>
                          <a:schemeClr val="tx1"/>
                        </a:solidFill>
                        <a:cs typeface="B Nazanin" panose="00000400000000000000" pitchFamily="2" charset="-7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7819">
                <a:tc>
                  <a:txBody>
                    <a:bodyPr/>
                    <a:lstStyle/>
                    <a:p>
                      <a:pPr algn="ctr"/>
                      <a:r>
                        <a:rPr lang="fa-IR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en-US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a-IR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29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7819">
                <a:tc>
                  <a:txBody>
                    <a:bodyPr/>
                    <a:lstStyle/>
                    <a:p>
                      <a:pPr algn="ctr"/>
                      <a:r>
                        <a:rPr lang="fa-IR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en-US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a-IR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61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7819">
                <a:tc>
                  <a:txBody>
                    <a:bodyPr/>
                    <a:lstStyle/>
                    <a:p>
                      <a:pPr algn="ctr"/>
                      <a:r>
                        <a:rPr lang="fa-IR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en-US" b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fa-IR" sz="1800" u="none" strike="noStrike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44</a:t>
                      </a:r>
                      <a:endParaRPr lang="en-US" sz="18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473716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8782" y="175452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نمونه‌گیری ادرار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815411" y="1303323"/>
            <a:ext cx="11058910" cy="5069045"/>
          </a:xfrm>
        </p:spPr>
        <p:txBody>
          <a:bodyPr/>
          <a:lstStyle/>
          <a:p>
            <a:pPr marL="0" lvl="0" indent="0" algn="just" defTabSz="914400">
              <a:buFont typeface="Arial" pitchFamily="34" charset="0"/>
              <a:buChar char="•"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ظروف مخصوص جمع آوری ادرار باید استریل باشد که برای این امر از ظروف50 میلی لیتری استفاده می شود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>
              <a:buFont typeface="Arial" pitchFamily="34" charset="0"/>
              <a:buChar char="•"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ظروف مورد استفاده باید برچسب دار بوده و کد فرد روی آن درج شده باشد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فرد مسؤول توزیع ظروف نمونه گیری (خون گیر) باید مشخصات درج شده روی ظرف را با مشخصات فرد تطبیق داده و پس از آن ظرف را به فرد تحویل دهد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>
              <a:buFont typeface="Arial" pitchFamily="34" charset="0"/>
              <a:buChar char="•"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فرد بعد از خون‌گیری، باید ادرار خود را در لیوان ادرار جمع آوری کند. 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>
              <a:buFont typeface="Arial" pitchFamily="34" charset="0"/>
              <a:buChar char="•"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قبل از نمونه گیری ادرار باید ناحیه تناسلی شسته شود. شستشو باید از جلو به عقب انجام شود و توصیه می شود که برای شستشو از آب </a:t>
            </a:r>
            <a:r>
              <a:rPr lang="en-US" sz="20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   </a:t>
            </a:r>
            <a:r>
              <a:rPr lang="fa-IR" sz="20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(</a:t>
            </a: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دون مواد شوینده یا ضدعفونی کننده) استفاده شود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>
              <a:buFont typeface="Arial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گر فرد خانمی باشد که در دوره قاعدگی است باید شستشو با دقت بیشتری انجام شود</a:t>
            </a:r>
            <a:r>
              <a:rPr lang="en-US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.</a:t>
            </a:r>
          </a:p>
          <a:p>
            <a:pPr marL="0" lvl="0" indent="0" algn="just" defTabSz="914400">
              <a:buFont typeface="Arial" pitchFamily="34" charset="0"/>
              <a:buChar char="•"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ر حین تخلیه ادرار در ظرف باید تمامی شرایط استریل رعایت شود به طوری که از گذاشتن درب ظرف در کف دستشویی یا تماس دست با بخش داخلی ظرف خودداری شود. 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>
              <a:buFont typeface="Arial" pitchFamily="34" charset="0"/>
              <a:buChar char="•"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پس از بستن درب ظرف، باید آن را در قسمت از پیش تعیین شده قرار داد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>
              <a:buFont typeface="Arial" pitchFamily="34" charset="0"/>
              <a:buChar char="•"/>
            </a:pP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just" defTabSz="914400">
              <a:buFont typeface="Arial" pitchFamily="34" charset="0"/>
              <a:buChar char="•"/>
            </a:pPr>
            <a:r>
              <a:rPr lang="ar-SA" sz="2400" b="1" dirty="0">
                <a:solidFill>
                  <a:srgbClr val="C00000"/>
                </a:solidFill>
                <a:latin typeface="맑은 고딕"/>
                <a:cs typeface="B Nazanin" panose="00000400000000000000" pitchFamily="2" charset="-78"/>
              </a:rPr>
              <a:t>برای انجام نمونه گیری ادرار لازم است پس از بیدار شدن، ادرار صبحگاهی خود را در خانه تخلیه نمایید و پس از آن برای نمونه گیری به آزمایشگاه منتخب مراجعه نمایید.</a:t>
            </a:r>
            <a:endParaRPr lang="en-US" sz="2400" b="1" dirty="0">
              <a:solidFill>
                <a:srgbClr val="C00000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3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304548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437" y="193702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cs typeface="B Nazanin" panose="00000400000000000000" pitchFamily="2" charset="-78"/>
              </a:rPr>
              <a:t>وسایل مورد نیاز برای نمونه گیری ادرار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004552" y="1319962"/>
            <a:ext cx="10788493" cy="1073573"/>
          </a:xfrm>
        </p:spPr>
        <p:txBody>
          <a:bodyPr/>
          <a:lstStyle/>
          <a:p>
            <a:pPr marL="0" indent="0">
              <a:buNone/>
            </a:pPr>
            <a:r>
              <a:rPr lang="fa-IR" sz="2800" dirty="0">
                <a:solidFill>
                  <a:prstClr val="black">
                    <a:lumMod val="75000"/>
                    <a:lumOff val="25000"/>
                  </a:prstClr>
                </a:solidFill>
                <a:latin typeface="맑은 고딕"/>
                <a:cs typeface="B Nazanin" panose="00000400000000000000" pitchFamily="2" charset="-78"/>
              </a:rPr>
              <a:t>وسایل مورد نیاز برای نمونه گیری ادرار هر فرد که توسط ستاد اجرایی دانشگاه در اختیار آزمایشگاه منتخب قرار خواهد گرفت و شامل موارد ذکر شده در جدول زیر است. </a:t>
            </a:r>
            <a:endParaRPr lang="en-US" sz="4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4</a:t>
            </a:fld>
            <a:endParaRPr lang="en-US" dirty="0"/>
          </a:p>
        </p:txBody>
      </p:sp>
      <p:graphicFrame>
        <p:nvGraphicFramePr>
          <p:cNvPr id="5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61709443"/>
              </p:ext>
            </p:extLst>
          </p:nvPr>
        </p:nvGraphicFramePr>
        <p:xfrm>
          <a:off x="7642004" y="2660131"/>
          <a:ext cx="4022252" cy="2422006"/>
        </p:xfrm>
        <a:graphic>
          <a:graphicData uri="http://schemas.openxmlformats.org/drawingml/2006/table">
            <a:tbl>
              <a:tblPr rtl="1" firstRow="1" firstCol="1" bandRow="1"/>
              <a:tblGrid>
                <a:gridCol w="68662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734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6213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71454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ردیف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وسایل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تعداد برای هر فرد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2638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لیوان </a:t>
                      </a:r>
                      <a:r>
                        <a:rPr lang="fa-IR" sz="18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ادرار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2638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2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لوله واسط 5 </a:t>
                      </a:r>
                      <a:r>
                        <a:rPr lang="fa-IR" sz="18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سی سی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2638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3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93065" algn="l"/>
                        </a:tabLst>
                      </a:pPr>
                      <a:r>
                        <a:rPr lang="fa-IR" sz="18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سرسمپلر</a:t>
                      </a:r>
                      <a:endParaRPr lang="en-US" sz="1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2638">
                <a:tc>
                  <a:txBody>
                    <a:bodyPr/>
                    <a:lstStyle/>
                    <a:p>
                      <a:pPr marL="0" marR="0" algn="ctr" defTabSz="914400" rtl="1" eaLnBrk="1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93065" algn="l"/>
                        </a:tabLst>
                      </a:pP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4</a:t>
                      </a:r>
                      <a:endParaRPr lang="en-US" sz="180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1" eaLnBrk="1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393065" algn="l"/>
                        </a:tabLst>
                      </a:pP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نوار ادرار</a:t>
                      </a:r>
                      <a:endParaRPr lang="en-US" sz="180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1" eaLnBrk="1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80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6770" y="5151549"/>
            <a:ext cx="1451350" cy="1451350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9" name="Picture 2" descr="Image result for ‫نوار ادرار کمبی‬‎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20" r="18246" b="13240"/>
          <a:stretch/>
        </p:blipFill>
        <p:spPr bwMode="auto">
          <a:xfrm>
            <a:off x="4520063" y="5151549"/>
            <a:ext cx="1937223" cy="1451350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897" t="20657" r="18920" b="53052"/>
          <a:stretch/>
        </p:blipFill>
        <p:spPr>
          <a:xfrm rot="16200000">
            <a:off x="2526421" y="3274140"/>
            <a:ext cx="1880499" cy="648449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2911" t="39249" r="5540" b="20939"/>
          <a:stretch/>
        </p:blipFill>
        <p:spPr>
          <a:xfrm>
            <a:off x="4526488" y="2658115"/>
            <a:ext cx="1357155" cy="1880502"/>
          </a:xfrm>
          <a:prstGeom prst="rect">
            <a:avLst/>
          </a:prstGeom>
          <a:ln w="2286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12" name="TextBox 11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0962217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456" y="201210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دستور العمل الیکوت کردن ادرار در شهرستان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732712" y="1236582"/>
            <a:ext cx="11026563" cy="5164217"/>
          </a:xfrm>
        </p:spPr>
        <p:txBody>
          <a:bodyPr/>
          <a:lstStyle/>
          <a:p>
            <a:pPr marL="0" lvl="0" indent="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a-IR" sz="2400" b="1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لیکوت </a:t>
            </a:r>
            <a:r>
              <a:rPr lang="fa-IR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کردن ادرار در لوله 5 سی سی باید در شرایط </a:t>
            </a:r>
            <a:r>
              <a:rPr lang="fa-IR" sz="2400" b="1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ستریل</a:t>
            </a:r>
            <a:r>
              <a:rPr lang="en-US" sz="2400" b="1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400" b="1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و طبق دستورالعمل استاندارد </a:t>
            </a:r>
            <a:r>
              <a:rPr lang="fa-IR" sz="24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نجام شود.</a:t>
            </a:r>
            <a:endParaRPr lang="en-US" sz="2400" b="1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رچسب روی ظرف جمع آوری حتما باید با برچسب روی لوله 5 میلی لیتری مطابقت داشته باشد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مقدار </a:t>
            </a:r>
            <a:r>
              <a:rPr lang="fa-IR" sz="20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4 </a:t>
            </a: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میلی لیتر از نمونه ادرار جمع آوری شده در لوله 5 میلی لیتری بارکددار ریخته شود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>
              <a:lnSpc>
                <a:spcPct val="150000"/>
              </a:lnSpc>
              <a:buNone/>
            </a:pPr>
            <a:r>
              <a:rPr lang="fa-IR" sz="20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** برای افرادی که علاوه بر ادرار رندم، ادرار 24 ساعته نیز </a:t>
            </a:r>
            <a:r>
              <a:rPr lang="fa-IR" sz="2000" b="1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ارند،ادرار موجود در ظرف به خوبی تکان داده شود و 4 </a:t>
            </a:r>
            <a:r>
              <a:rPr lang="fa-IR" sz="20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میلی لیتر از ادرار 24 ساعته مربوط به آنان نیز در لوله </a:t>
            </a:r>
            <a:r>
              <a:rPr lang="fa-IR" sz="2000" b="1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5</a:t>
            </a:r>
            <a:r>
              <a:rPr lang="en-US" sz="2000" b="1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 </a:t>
            </a:r>
            <a:r>
              <a:rPr lang="fa-IR" sz="2000" b="1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000" b="1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میلی لیتری ارسال شده برای ادرار 24 ساعته ریخته می شود.</a:t>
            </a: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لوله های 5 میلی لیتری پر شده باید در کوتاه ترین زمان ممکن به دمای 4 درجه سلسیوس انتقال داده شود.</a:t>
            </a:r>
          </a:p>
          <a:p>
            <a:pPr marL="0" lvl="0" indent="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کارشناس آزمایشگاه بعد از الیکوت ادرار و ادرار 24 ساعته باید تست نوار ادرار را طبق دستورالعمل برای نمونه ادرار و ادرار 24 ساعته انجام </a:t>
            </a:r>
            <a:r>
              <a:rPr lang="en-US" sz="20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0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هد </a:t>
            </a:r>
            <a:r>
              <a:rPr lang="fa-IR" sz="20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و نتیجه را در فرم شماره 5 و 6 کاغذی و در تبلت وارد نماید.</a:t>
            </a:r>
          </a:p>
          <a:p>
            <a:pPr marL="0" lvl="0" indent="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a-IR" sz="2400" b="1" dirty="0">
                <a:solidFill>
                  <a:srgbClr val="C00000"/>
                </a:solidFill>
                <a:latin typeface="맑은 고딕"/>
                <a:cs typeface="B Nazanin" panose="00000400000000000000" pitchFamily="2" charset="-78"/>
              </a:rPr>
              <a:t>نکته: حتما باید حجم ادرار 24 ساعته در فرم شماره 4 کاغذی نوشته شود و این فرم به همراه نمونه ها به ستاد مرکزی ارسال شود.</a:t>
            </a:r>
            <a:endParaRPr lang="en-US" sz="2400" b="1" dirty="0">
              <a:solidFill>
                <a:srgbClr val="C00000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l" defTabSz="914400" rtl="0">
              <a:buNone/>
            </a:pPr>
            <a:endParaRPr lang="en-US" sz="20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369130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62132" y="437007"/>
            <a:ext cx="5849643" cy="1255448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دستور العمل الیکوت کردن ادرار در </a:t>
            </a:r>
            <a:r>
              <a:rPr lang="fa-IR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شهرستان</a:t>
            </a:r>
            <a:br>
              <a:rPr lang="fa-IR" dirty="0" smtClean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6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  <p:grpSp>
        <p:nvGrpSpPr>
          <p:cNvPr id="58" name="Group 57"/>
          <p:cNvGrpSpPr/>
          <p:nvPr/>
        </p:nvGrpSpPr>
        <p:grpSpPr>
          <a:xfrm>
            <a:off x="1199456" y="535578"/>
            <a:ext cx="6707600" cy="6322422"/>
            <a:chOff x="1048485" y="636301"/>
            <a:chExt cx="6610865" cy="5732104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83" t="10008" r="18942" b="4648"/>
            <a:stretch/>
          </p:blipFill>
          <p:spPr>
            <a:xfrm>
              <a:off x="1048485" y="636301"/>
              <a:ext cx="4303528" cy="5732104"/>
            </a:xfrm>
            <a:prstGeom prst="rect">
              <a:avLst/>
            </a:prstGeom>
          </p:spPr>
        </p:pic>
        <p:sp>
          <p:nvSpPr>
            <p:cNvPr id="47" name="Line Callout 1 46"/>
            <p:cNvSpPr/>
            <p:nvPr/>
          </p:nvSpPr>
          <p:spPr>
            <a:xfrm>
              <a:off x="5978763" y="908621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344284"/>
                <a:gd name="adj4" fmla="val -58999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LO(Blood)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8" name="Line Callout 1 47"/>
            <p:cNvSpPr/>
            <p:nvPr/>
          </p:nvSpPr>
          <p:spPr>
            <a:xfrm>
              <a:off x="5991825" y="1417736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294626"/>
                <a:gd name="adj4" fmla="val -62389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URO(</a:t>
              </a:r>
              <a:r>
                <a:rPr lang="en-US" sz="1600" b="1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Urobilinogen</a:t>
              </a:r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)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9" name="Line Callout 1 48"/>
            <p:cNvSpPr/>
            <p:nvPr/>
          </p:nvSpPr>
          <p:spPr>
            <a:xfrm>
              <a:off x="6006767" y="4813835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-48910"/>
                <a:gd name="adj4" fmla="val -60613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H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0" name="Line Callout 1 49"/>
            <p:cNvSpPr/>
            <p:nvPr/>
          </p:nvSpPr>
          <p:spPr>
            <a:xfrm>
              <a:off x="6006767" y="1930997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247831"/>
                <a:gd name="adj4" fmla="val -70154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IL(Bilirubin)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1" name="Line Callout 1 50"/>
            <p:cNvSpPr/>
            <p:nvPr/>
          </p:nvSpPr>
          <p:spPr>
            <a:xfrm>
              <a:off x="6011283" y="2424323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188421"/>
                <a:gd name="adj4" fmla="val -69362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RO(Protein)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Line Callout 1 51"/>
            <p:cNvSpPr/>
            <p:nvPr/>
          </p:nvSpPr>
          <p:spPr>
            <a:xfrm>
              <a:off x="6011161" y="2919359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146112"/>
                <a:gd name="adj4" fmla="val -74637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NIT(Nitrite)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3" name="Line Callout 1 52"/>
            <p:cNvSpPr/>
            <p:nvPr/>
          </p:nvSpPr>
          <p:spPr>
            <a:xfrm>
              <a:off x="6001131" y="3396506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100544"/>
                <a:gd name="adj4" fmla="val -71139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KET(Ketone)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4" name="Line Callout 1 53"/>
            <p:cNvSpPr/>
            <p:nvPr/>
          </p:nvSpPr>
          <p:spPr>
            <a:xfrm>
              <a:off x="6006767" y="3872768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53140"/>
                <a:gd name="adj4" fmla="val -80820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SC(Ascorbic Acid)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5" name="Line Callout 1 54"/>
            <p:cNvSpPr/>
            <p:nvPr/>
          </p:nvSpPr>
          <p:spPr>
            <a:xfrm>
              <a:off x="6006767" y="4353031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8316"/>
                <a:gd name="adj4" fmla="val -60012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GLU(Glucose)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Line Callout 1 55"/>
            <p:cNvSpPr/>
            <p:nvPr/>
          </p:nvSpPr>
          <p:spPr>
            <a:xfrm>
              <a:off x="6006767" y="5306319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-87992"/>
                <a:gd name="adj4" fmla="val -60804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G(Specific Gravity)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7" name="Line Callout 1 56"/>
            <p:cNvSpPr/>
            <p:nvPr/>
          </p:nvSpPr>
          <p:spPr>
            <a:xfrm>
              <a:off x="6006766" y="5787460"/>
              <a:ext cx="1648067" cy="432000"/>
            </a:xfrm>
            <a:prstGeom prst="borderCallout1">
              <a:avLst>
                <a:gd name="adj1" fmla="val 96687"/>
                <a:gd name="adj2" fmla="val 810"/>
                <a:gd name="adj3" fmla="val -141274"/>
                <a:gd name="adj4" fmla="val -70537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EU(Leukocyte)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60" name="Title 1"/>
          <p:cNvSpPr txBox="1">
            <a:spLocks/>
          </p:cNvSpPr>
          <p:nvPr/>
        </p:nvSpPr>
        <p:spPr>
          <a:xfrm>
            <a:off x="7907056" y="1578907"/>
            <a:ext cx="3988526" cy="3472862"/>
          </a:xfrm>
          <a:prstGeom prst="rect">
            <a:avLst/>
          </a:prstGeom>
        </p:spPr>
        <p:txBody>
          <a:bodyPr anchor="ctr"/>
          <a:lstStyle>
            <a:lvl1pPr algn="r" defTabSz="1219170" rtl="1" eaLnBrk="1" latinLnBrk="1" hangingPunct="1">
              <a:spcBef>
                <a:spcPct val="0"/>
              </a:spcBef>
              <a:buNone/>
              <a:defRPr sz="48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fa-IR" sz="2800" dirty="0" smtClean="0">
                <a:solidFill>
                  <a:srgbClr val="B8184A"/>
                </a:solidFill>
              </a:rPr>
              <a:t>مسئول محترم انجام تست نوار   ادرار،موظف است هنگام وارد  نمودن نتایج تست ها در فرم های کاغذی و تبلت، به ترتیب     تست های درج شده روی قوطی ها دقت نماید.</a:t>
            </a:r>
            <a:endParaRPr lang="en-US" sz="2800" dirty="0">
              <a:solidFill>
                <a:srgbClr val="B818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70796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0806" y="258904"/>
            <a:ext cx="5731377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دستور العمل الیکوت کردن ادرار در شهرستان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1147205" y="509452"/>
            <a:ext cx="6612131" cy="6340512"/>
            <a:chOff x="1068828" y="875212"/>
            <a:chExt cx="6251612" cy="5974751"/>
          </a:xfrm>
        </p:grpSpPr>
        <p:pic>
          <p:nvPicPr>
            <p:cNvPr id="3" name="Picture 2"/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8215" r="23999"/>
            <a:stretch/>
          </p:blipFill>
          <p:spPr>
            <a:xfrm>
              <a:off x="1068828" y="875212"/>
              <a:ext cx="4309550" cy="5974751"/>
            </a:xfrm>
            <a:prstGeom prst="rect">
              <a:avLst/>
            </a:prstGeom>
          </p:spPr>
        </p:pic>
        <p:sp>
          <p:nvSpPr>
            <p:cNvPr id="47" name="Line Callout 1 46"/>
            <p:cNvSpPr/>
            <p:nvPr/>
          </p:nvSpPr>
          <p:spPr>
            <a:xfrm>
              <a:off x="5875424" y="1644046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405829"/>
                <a:gd name="adj4" fmla="val -68406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ilirubin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8" name="Line Callout 1 47"/>
            <p:cNvSpPr/>
            <p:nvPr/>
          </p:nvSpPr>
          <p:spPr>
            <a:xfrm>
              <a:off x="5874266" y="2114689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338347"/>
                <a:gd name="adj4" fmla="val -58636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err="1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Urobilinogen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49" name="Line Callout 1 48"/>
            <p:cNvSpPr/>
            <p:nvPr/>
          </p:nvSpPr>
          <p:spPr>
            <a:xfrm>
              <a:off x="5880657" y="5327561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8543"/>
                <a:gd name="adj4" fmla="val -78061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Nitrite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0" name="Line Callout 1 49"/>
            <p:cNvSpPr/>
            <p:nvPr/>
          </p:nvSpPr>
          <p:spPr>
            <a:xfrm>
              <a:off x="5876143" y="2585639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296241"/>
                <a:gd name="adj4" fmla="val -62312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Ketone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1" name="Line Callout 1 50"/>
            <p:cNvSpPr/>
            <p:nvPr/>
          </p:nvSpPr>
          <p:spPr>
            <a:xfrm>
              <a:off x="5880659" y="3039776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257157"/>
                <a:gd name="adj4" fmla="val -80458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Ascorbic Acid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2" name="Line Callout 1 51"/>
            <p:cNvSpPr/>
            <p:nvPr/>
          </p:nvSpPr>
          <p:spPr>
            <a:xfrm>
              <a:off x="5880537" y="3521749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187838"/>
                <a:gd name="adj4" fmla="val -61802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Glucose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3" name="Line Callout 1 52"/>
            <p:cNvSpPr/>
            <p:nvPr/>
          </p:nvSpPr>
          <p:spPr>
            <a:xfrm>
              <a:off x="5880657" y="3958904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149980"/>
                <a:gd name="adj4" fmla="val -61941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rotein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4" name="Line Callout 1 53"/>
            <p:cNvSpPr/>
            <p:nvPr/>
          </p:nvSpPr>
          <p:spPr>
            <a:xfrm>
              <a:off x="5874265" y="4458863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83378"/>
                <a:gd name="adj4" fmla="val -60037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Blood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5" name="Line Callout 1 54"/>
            <p:cNvSpPr/>
            <p:nvPr/>
          </p:nvSpPr>
          <p:spPr>
            <a:xfrm>
              <a:off x="5876143" y="4877043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47625"/>
                <a:gd name="adj4" fmla="val -60450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pH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Line Callout 1 55"/>
            <p:cNvSpPr/>
            <p:nvPr/>
          </p:nvSpPr>
          <p:spPr>
            <a:xfrm>
              <a:off x="5876143" y="5778079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-39611"/>
                <a:gd name="adj4" fmla="val -70430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Leukocyte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57" name="Line Callout 1 56"/>
            <p:cNvSpPr/>
            <p:nvPr/>
          </p:nvSpPr>
          <p:spPr>
            <a:xfrm>
              <a:off x="5876142" y="6246157"/>
              <a:ext cx="1439781" cy="432000"/>
            </a:xfrm>
            <a:prstGeom prst="borderCallout1">
              <a:avLst>
                <a:gd name="adj1" fmla="val 96687"/>
                <a:gd name="adj2" fmla="val 810"/>
                <a:gd name="adj3" fmla="val -95917"/>
                <a:gd name="adj4" fmla="val -61568"/>
              </a:avLst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1600" b="1" dirty="0" smtClean="0">
                  <a:latin typeface="Times New Roman" panose="02020603050405020304" pitchFamily="18" charset="0"/>
                  <a:cs typeface="Times New Roman" panose="02020603050405020304" pitchFamily="18" charset="0"/>
                </a:rPr>
                <a:t>Specific Gravity</a:t>
              </a:r>
              <a:endParaRPr lang="en-US" sz="1600" b="1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1" name="Title 1"/>
          <p:cNvSpPr txBox="1">
            <a:spLocks/>
          </p:cNvSpPr>
          <p:nvPr/>
        </p:nvSpPr>
        <p:spPr>
          <a:xfrm>
            <a:off x="7907056" y="1578907"/>
            <a:ext cx="3988526" cy="3472862"/>
          </a:xfrm>
          <a:prstGeom prst="rect">
            <a:avLst/>
          </a:prstGeom>
        </p:spPr>
        <p:txBody>
          <a:bodyPr anchor="ctr"/>
          <a:lstStyle>
            <a:lvl1pPr algn="r" defTabSz="1219170" rtl="1" eaLnBrk="1" latinLnBrk="1" hangingPunct="1">
              <a:spcBef>
                <a:spcPct val="0"/>
              </a:spcBef>
              <a:buNone/>
              <a:defRPr sz="4800" b="1" kern="1200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fa-IR" sz="2800" dirty="0" smtClean="0">
                <a:solidFill>
                  <a:srgbClr val="B8184A"/>
                </a:solidFill>
              </a:rPr>
              <a:t>مسئول محترم انجام تست نوار   ادرار،موظف است هنگام وارد  نمودن نتایج تست ها در فرم های کاغذی و تبلت، به ترتیب     تست های درج شده روی قوطی ها دقت نماید.</a:t>
            </a:r>
            <a:endParaRPr lang="en-US" sz="2800" dirty="0">
              <a:solidFill>
                <a:srgbClr val="B8184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257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1946" y="139714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/>
                </a:solidFill>
                <a:cs typeface="B Nazanin" panose="00000400000000000000" pitchFamily="2" charset="-78"/>
              </a:rPr>
              <a:t>دستورالعمل نمونه‌گیری ادرار 24 </a:t>
            </a:r>
            <a:r>
              <a:rPr lang="fa-IR" dirty="0" smtClean="0">
                <a:solidFill>
                  <a:schemeClr val="tx1"/>
                </a:solidFill>
                <a:cs typeface="B Nazanin" panose="00000400000000000000" pitchFamily="2" charset="-78"/>
              </a:rPr>
              <a:t>ساعته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255204"/>
            <a:ext cx="10512309" cy="5117164"/>
          </a:xfrm>
        </p:spPr>
        <p:txBody>
          <a:bodyPr/>
          <a:lstStyle/>
          <a:p>
            <a:pPr marL="0" lvl="0" indent="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رای جمع آوری ادرار 24 ساعته به طور رندوم از 1000 نفر از افراد مورد مطالعه ادرار 24 ساعته گرفته می شود. افراد موظف هستند طی 24 ساعت و در طول شبانه روز تمامی ادرار خود را در ظرفی که به آنان تحویل </a:t>
            </a:r>
            <a:r>
              <a:rPr lang="fa-IR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اده</a:t>
            </a:r>
            <a:r>
              <a:rPr lang="en-US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   </a:t>
            </a:r>
            <a:r>
              <a:rPr lang="fa-IR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می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شود تخلیه کنند.</a:t>
            </a:r>
            <a:endParaRPr lang="en-US" sz="24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پرسشگر پس از نوشتن مشخصات فرد(نام، نام خانوادگی و کدملی شرکت کننده) روی لیبل ها، آنها را </a:t>
            </a:r>
            <a:r>
              <a:rPr lang="fa-IR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روی</a:t>
            </a:r>
            <a:r>
              <a:rPr lang="en-US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  </a:t>
            </a:r>
            <a:r>
              <a:rPr lang="fa-IR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ظرف نمونه گیری ادرار 24 ساعته،فرم مربوطه و لوله واسط ادرار 24 ساعته چسبانده و به شرکت کننده </a:t>
            </a:r>
            <a:r>
              <a:rPr lang="fa-IR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تحویل</a:t>
            </a:r>
            <a:r>
              <a:rPr lang="en-US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می دهد.</a:t>
            </a:r>
          </a:p>
          <a:p>
            <a:pPr marL="0" lvl="0" indent="0" defTabSz="91440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پرسشگر توضیحات لازم برای نمونه گیری و نحوه پر کردن فرم را به افراد ارائه دهد، و به شرکت کننده </a:t>
            </a:r>
            <a:r>
              <a:rPr lang="fa-IR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توضیح</a:t>
            </a:r>
            <a:r>
              <a:rPr lang="en-US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4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24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هد که در روز مراجعه به آزمایشگاه ظرف ادرار 24 ساعته، لوله واسط و فرم تکمیل شده را همراه داشته باشد و به نمونه گیر تحویل دهد.</a:t>
            </a:r>
          </a:p>
          <a:p>
            <a:pPr marL="0" lvl="0" indent="0" defTabSz="914400">
              <a:buClr>
                <a:srgbClr val="C00000"/>
              </a:buClr>
              <a:buNone/>
            </a:pPr>
            <a:endParaRPr lang="en-US" sz="24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lvl="0" indent="0" algn="l" defTabSz="914400">
              <a:buNone/>
            </a:pPr>
            <a:endParaRPr lang="en-US" sz="2400" dirty="0">
              <a:solidFill>
                <a:prstClr val="black"/>
              </a:solidFill>
              <a:latin typeface="맑은 고딕"/>
            </a:endParaRPr>
          </a:p>
          <a:p>
            <a:pPr marL="0" lvl="0" indent="0" algn="l" defTabSz="914400" rtl="0">
              <a:buNone/>
            </a:pPr>
            <a:endParaRPr lang="en-US" sz="2400" dirty="0">
              <a:solidFill>
                <a:prstClr val="black"/>
              </a:solidFill>
              <a:latin typeface="맑은 고딕"/>
            </a:endParaRPr>
          </a:p>
          <a:p>
            <a:pPr marL="0" indent="0">
              <a:buNone/>
            </a:pP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8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5106220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61767" y="215875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cs typeface="B Nazanin" panose="00000400000000000000" pitchFamily="2" charset="-78"/>
              </a:rPr>
              <a:t>وسایل مورد نیاز برای جمع آوری ادرار 24 ساعته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456786" y="1515894"/>
            <a:ext cx="10464800" cy="1279313"/>
          </a:xfrm>
        </p:spPr>
        <p:txBody>
          <a:bodyPr/>
          <a:lstStyle/>
          <a:p>
            <a:pPr marL="0" lvl="0" indent="0" algn="just" defTabSz="914400" latinLnBrk="0">
              <a:lnSpc>
                <a:spcPct val="150000"/>
              </a:lnSpc>
              <a:spcBef>
                <a:spcPts val="0"/>
              </a:spcBef>
              <a:buNone/>
            </a:pPr>
            <a:r>
              <a:rPr lang="fa-IR" sz="2400" dirty="0">
                <a:latin typeface="맑은 고딕"/>
                <a:cs typeface="B Nazanin" panose="00000400000000000000" pitchFamily="2" charset="-78"/>
              </a:rPr>
              <a:t>وسایل مورد نیاز برای نمونه گیری ادرار 24 ساعته که توسط ستاد اجرایی دانشگاه در اختیار آزمایشگاه منتخب قرار خواهد گرفت و شامل موارد ذکر شده در جدول زیر است. </a:t>
            </a:r>
            <a:endParaRPr lang="en-US" sz="2400" dirty="0">
              <a:latin typeface="맑은 고딕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39</a:t>
            </a:fld>
            <a:endParaRPr lang="en-US" dirty="0"/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008828"/>
              </p:ext>
            </p:extLst>
          </p:nvPr>
        </p:nvGraphicFramePr>
        <p:xfrm>
          <a:off x="6095322" y="3497496"/>
          <a:ext cx="5493322" cy="2226364"/>
        </p:xfrm>
        <a:graphic>
          <a:graphicData uri="http://schemas.openxmlformats.org/drawingml/2006/table">
            <a:tbl>
              <a:tblPr rtl="1" firstRow="1" firstCol="1" bandRow="1"/>
              <a:tblGrid>
                <a:gridCol w="85333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199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199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12913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ردیف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وسایل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تعداد برای هر فرد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07999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ظرف ادرار 24 ساعته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7878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fa-IR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2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fa-IR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لوله واسط 5 سی سی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fa-IR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7574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fa-IR" sz="16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3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tabLst>
                          <a:tab pos="393065" algn="l"/>
                        </a:tabLst>
                      </a:pPr>
                      <a:r>
                        <a:rPr lang="fa-IR" sz="16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سرسمپلر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fa-IR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9525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967445" y="5173329"/>
            <a:ext cx="1220548" cy="130259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4160" y="5104797"/>
            <a:ext cx="1498102" cy="149810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8846" y="2855219"/>
            <a:ext cx="2160346" cy="2160346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996796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5718" y="379763"/>
            <a:ext cx="10559819" cy="1035373"/>
          </a:xfrm>
        </p:spPr>
        <p:txBody>
          <a:bodyPr/>
          <a:lstStyle/>
          <a:p>
            <a:r>
              <a:rPr lang="fa-IR" altLang="ko-KR" dirty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맑은 고딕" pitchFamily="50" charset="-127"/>
                <a:cs typeface="B Nazanin" panose="00000400000000000000" pitchFamily="2" charset="-78"/>
              </a:rPr>
              <a:t>وسایل لازم نمونه </a:t>
            </a:r>
            <a:r>
              <a:rPr lang="fa-IR" altLang="ko-KR" dirty="0" smtClean="0">
                <a:solidFill>
                  <a:schemeClr val="tx1">
                    <a:lumMod val="50000"/>
                  </a:schemeClr>
                </a:solidFill>
                <a:latin typeface="Arial" pitchFamily="34" charset="0"/>
                <a:ea typeface="맑은 고딕" pitchFamily="50" charset="-127"/>
                <a:cs typeface="B Nazanin" panose="00000400000000000000" pitchFamily="2" charset="-78"/>
              </a:rPr>
              <a:t>گیری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446019" y="1989667"/>
            <a:ext cx="8833697" cy="2079413"/>
          </a:xfrm>
        </p:spPr>
        <p:txBody>
          <a:bodyPr/>
          <a:lstStyle/>
          <a:p>
            <a:pPr>
              <a:buFont typeface="Wingdings" panose="05000000000000000000" pitchFamily="2" charset="2"/>
              <a:buChar char="ü"/>
            </a:pPr>
            <a:r>
              <a:rPr lang="fa-IR" dirty="0">
                <a:cs typeface="B Nazanin" panose="00000400000000000000" pitchFamily="2" charset="-78"/>
              </a:rPr>
              <a:t>بسته طراحی شده فردی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a-IR" dirty="0">
                <a:cs typeface="B Nazanin" panose="00000400000000000000" pitchFamily="2" charset="-78"/>
              </a:rPr>
              <a:t>لوازم ارسالی عمومی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a-IR" dirty="0">
                <a:cs typeface="B Nazanin" panose="00000400000000000000" pitchFamily="2" charset="-78"/>
              </a:rPr>
              <a:t>وسایل جانبی موجود در محل نمونه گیری شهرستان ها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8463" y="273090"/>
            <a:ext cx="2872996" cy="2212788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8463" y="2773144"/>
            <a:ext cx="2055112" cy="1583201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7" name="Content Placeholder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831148" y="5606977"/>
            <a:ext cx="736350" cy="736350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7AA1FF"/>
                </a:solidFill>
              </a14:hiddenFill>
            </a:ext>
          </a:ex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2738" y="5331595"/>
            <a:ext cx="1495171" cy="1011732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208" t="7136" r="17792" b="15869"/>
          <a:stretch/>
        </p:blipFill>
        <p:spPr>
          <a:xfrm>
            <a:off x="2621175" y="4643611"/>
            <a:ext cx="1808324" cy="1305303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10" name="TextBox 9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9181139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250"/>
                            </p:stCondLst>
                            <p:childTnLst>
                              <p:par>
                                <p:cTn id="16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750"/>
                            </p:stCondLst>
                            <p:childTnLst>
                              <p:par>
                                <p:cTn id="2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250"/>
                            </p:stCondLst>
                            <p:childTnLst>
                              <p:par>
                                <p:cTn id="26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54855" y="292650"/>
            <a:ext cx="10816748" cy="1035373"/>
          </a:xfrm>
        </p:spPr>
        <p:txBody>
          <a:bodyPr/>
          <a:lstStyle/>
          <a:p>
            <a:r>
              <a:rPr lang="fa-IR" sz="4000" dirty="0">
                <a:solidFill>
                  <a:schemeClr val="tx1"/>
                </a:solidFill>
                <a:cs typeface="B Nazanin" panose="00000400000000000000" pitchFamily="2" charset="-78"/>
              </a:rPr>
              <a:t>نمونه گیری خون در روستا و انتقال نمونه به آزمایشگاه منتخب شهرستان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10432" y="1445316"/>
            <a:ext cx="11105594" cy="4607984"/>
          </a:xfrm>
        </p:spPr>
        <p:txBody>
          <a:bodyPr/>
          <a:lstStyle/>
          <a:p>
            <a:pPr marL="182880" lvl="0" indent="-91440" algn="just" defTabSz="9144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کلیه استانداردها و شرایط تعریف شده جهت خونگیری در شهر، باید در روستا نیز رعایت شود.</a:t>
            </a:r>
          </a:p>
          <a:p>
            <a:pPr marL="182880" lvl="0" indent="-91440" algn="just" defTabSz="9144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فرد پس از ورود کارت ملی و کارت شامل اطلاعات کد فرد خود را به مسئول پذیرش تحویل دهد.</a:t>
            </a:r>
          </a:p>
          <a:p>
            <a:pPr marL="182880" lvl="0" indent="-91440" algn="just" defTabSz="9144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تمامی فرآیندهای پذیرش در روستا همانند </a:t>
            </a:r>
            <a:r>
              <a:rPr lang="fa-IR" sz="18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شهر </a:t>
            </a: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نجام می شود.</a:t>
            </a:r>
          </a:p>
          <a:p>
            <a:pPr marL="182880" lvl="0" indent="-91440" algn="just" defTabSz="9144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نمونه گیری خون و ادرار در روستا مانند </a:t>
            </a:r>
            <a:r>
              <a:rPr lang="fa-IR" sz="18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شهر </a:t>
            </a: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انجام می شود.</a:t>
            </a:r>
          </a:p>
          <a:p>
            <a:pPr marL="182880" lvl="0" indent="-91440" algn="just" defTabSz="9144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پس از خونگیری برای اطمینان از ریخته نشدن نمونه، اطراف سرپوش با پارافیلم پوشانده شود. کلیه لوله ها در جعبه ارسالی مربوطه باید در کلدباکس </a:t>
            </a:r>
            <a:r>
              <a:rPr lang="fa-IR" sz="18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ارای</a:t>
            </a:r>
            <a:r>
              <a:rPr lang="en-US" sz="18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18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</a:t>
            </a: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دمای 8-2 درجه گذاشته شده و در اولین فرصت </a:t>
            </a:r>
            <a:r>
              <a:rPr lang="fa-IR" sz="18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با رعایت زنجیره سرما به </a:t>
            </a: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آزمایشگاه منتخب شهرستان منتقل شود. </a:t>
            </a:r>
          </a:p>
          <a:p>
            <a:pPr marL="182880" lvl="0" indent="-91440" algn="just" defTabSz="914400">
              <a:lnSpc>
                <a:spcPct val="16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شرایط انتقال نمونه‌ها از نظر دما، ایمنی و چيدمان لوله‌ها همراه با جالوله ای و به ‌نحوی مناسب انجام شود كه از واژگون شدن لوله‌ها و ریختن نمونه‌ها </a:t>
            </a:r>
            <a:r>
              <a:rPr lang="en-US" sz="18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     </a:t>
            </a:r>
            <a:r>
              <a:rPr lang="fa-IR" sz="18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جلوگيري </a:t>
            </a: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شود. پس از انتقال نمونه ها به آزمایشگاه منتخب شهرستان باید کلیه دستورالعمل ها و استاندارد های تعریف شده رعایت شود، به </a:t>
            </a:r>
            <a:r>
              <a:rPr lang="fa-IR" sz="1800" dirty="0" smtClean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طوریکه </a:t>
            </a:r>
            <a:r>
              <a:rPr lang="fa-IR" sz="1800" dirty="0">
                <a:solidFill>
                  <a:prstClr val="black"/>
                </a:solidFill>
                <a:latin typeface="맑은 고딕"/>
                <a:cs typeface="B Nazanin" panose="00000400000000000000" pitchFamily="2" charset="-78"/>
              </a:rPr>
              <a:t>شرایط و استانداردهای اجرایی برای نمونه های جمع آوری شده در شهر و روستا کاملا یکسان باشد.</a:t>
            </a:r>
            <a:endParaRPr lang="en-US" sz="1600" dirty="0">
              <a:solidFill>
                <a:prstClr val="black"/>
              </a:solidFill>
              <a:latin typeface="맑은 고딕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0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681208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88312" y="1620141"/>
            <a:ext cx="10980347" cy="2604130"/>
          </a:xfrm>
        </p:spPr>
        <p:txBody>
          <a:bodyPr/>
          <a:lstStyle/>
          <a:p>
            <a:pPr lvl="0" algn="justLow" defTabSz="914400" latinLnBrk="0">
              <a:lnSpc>
                <a:spcPct val="115000"/>
              </a:lnSpc>
              <a:spcBef>
                <a:spcPts val="0"/>
              </a:spcBef>
              <a:spcAft>
                <a:spcPts val="1000"/>
              </a:spcAft>
            </a:pPr>
            <a:r>
              <a:rPr lang="fa-IR" sz="32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نکته</a:t>
            </a:r>
            <a:r>
              <a:rPr lang="fa-IR" sz="320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: </a:t>
            </a:r>
            <a:r>
              <a:rPr lang="fa-IR" sz="320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کارشناس محترم </a:t>
            </a:r>
            <a:r>
              <a:rPr lang="fa-IR" sz="3200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آزمایشگاه حتما قبل از انجام پذیرش باید به اینترنت متصل شود و همگام سازی را انجام دهد؛ </a:t>
            </a:r>
            <a:r>
              <a:rPr lang="fa-IR" sz="3200" u="sng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همچنین قبل از انتقال تبلت ها به روستا ها برای پذیرش باید هرروز در </a:t>
            </a:r>
            <a:r>
              <a:rPr lang="fa-IR" sz="3200" u="sng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شهر </a:t>
            </a:r>
            <a:r>
              <a:rPr lang="fa-IR" sz="3200" u="sng" dirty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تبلت به اینترنت متصل شود و همگام سازی انجام شود سپس تبلت به روستا تحویل داده  شود</a:t>
            </a:r>
            <a:r>
              <a:rPr lang="fa-IR" sz="3200" u="sng" dirty="0" smtClean="0">
                <a:solidFill>
                  <a:srgbClr val="C00000"/>
                </a:solidFill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.</a:t>
            </a:r>
            <a:endParaRPr lang="en-US" dirty="0">
              <a:solidFill>
                <a:srgbClr val="C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1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520318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8596" y="259486"/>
            <a:ext cx="10559819" cy="1035373"/>
          </a:xfrm>
        </p:spPr>
        <p:txBody>
          <a:bodyPr/>
          <a:lstStyle/>
          <a:p>
            <a:r>
              <a:rPr lang="fa-IR" kern="0" dirty="0">
                <a:solidFill>
                  <a:schemeClr val="tx1">
                    <a:lumMod val="50000"/>
                  </a:schemeClr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B Nazanin" panose="00000400000000000000" pitchFamily="2" charset="-78"/>
              </a:rPr>
              <a:t>بسته ارسالی از شهرستان (بسته برگشت)</a:t>
            </a:r>
            <a:endParaRPr lang="en-US" kern="0" dirty="0">
              <a:solidFill>
                <a:schemeClr val="tx1">
                  <a:lumMod val="50000"/>
                </a:schemeClr>
              </a:solidFill>
              <a:cs typeface="B Nazanin" panose="00000400000000000000" pitchFamily="2" charset="-78"/>
            </a:endParaRPr>
          </a:p>
        </p:txBody>
      </p:sp>
      <p:graphicFrame>
        <p:nvGraphicFramePr>
          <p:cNvPr id="5" name="Content Placeholder 6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04735268"/>
              </p:ext>
            </p:extLst>
          </p:nvPr>
        </p:nvGraphicFramePr>
        <p:xfrm>
          <a:off x="2524259" y="1411063"/>
          <a:ext cx="8031672" cy="3264797"/>
        </p:xfrm>
        <a:graphic>
          <a:graphicData uri="http://schemas.openxmlformats.org/drawingml/2006/table">
            <a:tbl>
              <a:tblPr rtl="1" firstRow="1" firstCol="1" lastRow="1" lastCol="1" bandRow="1" bandCol="1"/>
              <a:tblGrid>
                <a:gridCol w="5127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45816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07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77908">
                <a:tc>
                  <a:txBody>
                    <a:bodyPr/>
                    <a:lstStyle/>
                    <a:p>
                      <a:pPr marL="73025" marR="73025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ردیف</a:t>
                      </a:r>
                      <a:endParaRPr lang="en-U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b="1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وسایل</a:t>
                      </a:r>
                      <a:endParaRPr lang="en-U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تعداد  به ازای  هر نفر</a:t>
                      </a:r>
                      <a:endParaRPr lang="en-US" sz="14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73558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 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5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میلی لیتری برای انتقال پلاسما جدا شده از 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</a:t>
                      </a:r>
                      <a:r>
                        <a:rPr lang="fa-IR" sz="1800" kern="1200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سدیم فلوراید (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لند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ا سرپوش </a:t>
                      </a:r>
                      <a:r>
                        <a:rPr lang="fa-IR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قرمز 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رنگ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8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73558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2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9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میلی لیتری  برای انتقال 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سرم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جدا شده 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از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لوله های لخته(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لند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ا سرپوش 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سفید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رنگ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8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73558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8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3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خلاء 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3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میلی </a:t>
                      </a:r>
                      <a:r>
                        <a:rPr lang="ar-SA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یتری 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حاوی</a:t>
                      </a:r>
                      <a:r>
                        <a:rPr lang="en-US" sz="18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EDTA </a:t>
                      </a:r>
                      <a:r>
                        <a:rPr lang="en-US" sz="18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K2</a:t>
                      </a:r>
                      <a:r>
                        <a:rPr lang="en-US" sz="1800" kern="1200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خون</a:t>
                      </a: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کامل - </a:t>
                      </a:r>
                      <a:r>
                        <a:rPr lang="fa-IR" sz="18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ا </a:t>
                      </a:r>
                      <a:r>
                        <a:rPr lang="fa-IR" sz="1800" kern="1200" dirty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سرپوش بنفش رنگ 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8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</a:t>
                      </a:r>
                      <a:endParaRPr lang="en-US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62574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4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5 میلی لیتری برای انتقال ادرار</a:t>
                      </a:r>
                      <a:endParaRPr lang="en-US" sz="180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</a:t>
                      </a:r>
                      <a:r>
                        <a:rPr lang="ar-SA" sz="18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عدد</a:t>
                      </a:r>
                      <a:endParaRPr lang="en-US" sz="1800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2</a:t>
            </a:fld>
            <a:endParaRPr lang="en-US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/>
          <a:srcRect l="7602" t="14921" r="66167" b="7790"/>
          <a:stretch/>
        </p:blipFill>
        <p:spPr>
          <a:xfrm rot="5400000">
            <a:off x="5316148" y="4184683"/>
            <a:ext cx="1944713" cy="3221618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467707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437" y="233729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نگهداري موقتی و ارسال نمونه‌ها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379760" y="1533854"/>
            <a:ext cx="10464800" cy="4607984"/>
          </a:xfrm>
        </p:spPr>
        <p:txBody>
          <a:bodyPr/>
          <a:lstStyle/>
          <a:p>
            <a:pPr marL="342900" lvl="0" indent="-342900" algn="just" defTabSz="914400" eaLnBrk="0" fontAlgn="base" latinLnBrk="0" hangingPunct="0"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</a:pPr>
            <a:r>
              <a:rPr lang="fa-IR" sz="2400" kern="0" dirty="0">
                <a:solidFill>
                  <a:srgbClr val="000000"/>
                </a:solidFill>
                <a:cs typeface="B Nazanin" panose="00000400000000000000" pitchFamily="2" charset="-78"/>
              </a:rPr>
              <a:t>نمونه‌های جمع‌آوری شده در آزمایشگاه منتخب شهرستان باید به صورت موقت در دمای 8-2 درجه سلسیوس  نگهداری و در کم تر از 18 ساعت پس از نمونه‌گیری، با رعایت زنجیره سرد به </a:t>
            </a:r>
            <a:r>
              <a:rPr lang="ar-SA" sz="2400" kern="0" dirty="0">
                <a:solidFill>
                  <a:srgbClr val="000000"/>
                </a:solidFill>
                <a:cs typeface="B Nazanin" panose="00000400000000000000" pitchFamily="2" charset="-78"/>
              </a:rPr>
              <a:t>مرکز تحقیقات بیماری</a:t>
            </a:r>
            <a:r>
              <a:rPr lang="fa-IR" sz="2400" kern="0" dirty="0">
                <a:solidFill>
                  <a:srgbClr val="000000"/>
                </a:solidFill>
                <a:cs typeface="B Nazanin" panose="00000400000000000000" pitchFamily="2" charset="-78"/>
              </a:rPr>
              <a:t> </a:t>
            </a:r>
            <a:r>
              <a:rPr lang="ar-SA" sz="2400" kern="0" dirty="0">
                <a:solidFill>
                  <a:srgbClr val="000000"/>
                </a:solidFill>
                <a:cs typeface="B Nazanin" panose="00000400000000000000" pitchFamily="2" charset="-78"/>
              </a:rPr>
              <a:t>های غیرواگیر </a:t>
            </a:r>
            <a:r>
              <a:rPr lang="fa-IR" sz="2400" kern="0" dirty="0">
                <a:solidFill>
                  <a:srgbClr val="000000"/>
                </a:solidFill>
                <a:cs typeface="B Nazanin" panose="00000400000000000000" pitchFamily="2" charset="-78"/>
              </a:rPr>
              <a:t>تحویل داده شود.</a:t>
            </a:r>
          </a:p>
          <a:p>
            <a:pPr marL="342900" lvl="0" indent="-342900" algn="just" defTabSz="914400" eaLnBrk="0" fontAlgn="base" latinLnBrk="0" hangingPunct="0"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</a:pPr>
            <a:r>
              <a:rPr lang="fa-IR" sz="2400" kern="0" dirty="0">
                <a:solidFill>
                  <a:srgbClr val="000000"/>
                </a:solidFill>
                <a:cs typeface="B Nazanin" panose="00000400000000000000" pitchFamily="2" charset="-78"/>
              </a:rPr>
              <a:t> باید شرایط انتقال نمونه‌ها از نظر دما، ایمنی و چيدمان لوله‌ها همراه با بسته ارسالی، به ‌نحوی مناسب انجام شود تا از واژگون شدن لوله‌ها و ریختن نمونه‌ها جلوگيري شود.</a:t>
            </a:r>
          </a:p>
          <a:p>
            <a:pPr marL="342900" lvl="0" indent="-342900" algn="just" defTabSz="914400" eaLnBrk="0" fontAlgn="base" latinLnBrk="0" hangingPunct="0">
              <a:spcAft>
                <a:spcPct val="0"/>
              </a:spcAft>
              <a:buSzPct val="120000"/>
              <a:buFont typeface="Arial" panose="020B0604020202020204" pitchFamily="34" charset="0"/>
              <a:buChar char="•"/>
            </a:pPr>
            <a:r>
              <a:rPr lang="fa-IR" sz="2400" kern="0" dirty="0">
                <a:solidFill>
                  <a:srgbClr val="000000"/>
                </a:solidFill>
                <a:cs typeface="B Nazanin" panose="00000400000000000000" pitchFamily="2" charset="-78"/>
              </a:rPr>
              <a:t> کارشناس ارسال هر شهرستان/ استان موظف است فرآیندی را طراحی نماید که با توجه به امکانات، بعد مسافت و شرایط محیطی و منطقه‌ای، نمونه های جمع آوری شده  با رعایت زنجیره سرد در کم تر از ۱۸ ساعت به مرکز تحقیقات بیماری های غیرواگیر منتقل شوند. فرآیند طراحی شده باید با هماهنگی و اطلاع ستاد مرکزی مطالعه اجرا شود</a:t>
            </a:r>
            <a:r>
              <a:rPr lang="fa-IR" sz="24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.</a:t>
            </a:r>
            <a:endParaRPr lang="en-US" sz="2400" kern="0" dirty="0">
              <a:solidFill>
                <a:srgbClr val="000000"/>
              </a:solidFill>
              <a:cs typeface="B Nazanin" panose="00000400000000000000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3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472699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15100" y="2329444"/>
            <a:ext cx="3595976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cs typeface="B Nazanin" panose="00000400000000000000" pitchFamily="2" charset="-78"/>
              </a:rPr>
              <a:t>فرم ها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4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606831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456" y="0"/>
            <a:ext cx="10559819" cy="1035373"/>
          </a:xfrm>
        </p:spPr>
        <p:txBody>
          <a:bodyPr/>
          <a:lstStyle/>
          <a:p>
            <a:r>
              <a:rPr lang="fa-IR" dirty="0">
                <a:latin typeface="Titr" panose="00000700000000000000" pitchFamily="2" charset="-78"/>
                <a:ea typeface="Calibri" panose="020F0502020204030204" pitchFamily="34" charset="0"/>
                <a:cs typeface="B Nazanin" panose="00000400000000000000" pitchFamily="2" charset="-78"/>
              </a:rPr>
              <a:t>برگه </a:t>
            </a:r>
            <a:r>
              <a:rPr lang="ar-SA" dirty="0">
                <a:latin typeface="Titr" panose="00000700000000000000" pitchFamily="2" charset="-78"/>
                <a:ea typeface="Calibri" panose="020F0502020204030204" pitchFamily="34" charset="0"/>
                <a:cs typeface="B Nazanin" panose="00000400000000000000" pitchFamily="2" charset="-78"/>
              </a:rPr>
              <a:t>آمادگی </a:t>
            </a:r>
            <a:r>
              <a:rPr lang="fa-IR" dirty="0">
                <a:latin typeface="Titr" panose="00000700000000000000" pitchFamily="2" charset="-78"/>
                <a:ea typeface="Calibri" panose="020F0502020204030204" pitchFamily="34" charset="0"/>
                <a:cs typeface="B Nazanin" panose="00000400000000000000" pitchFamily="2" charset="-78"/>
              </a:rPr>
              <a:t>فرد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71397" y="1100597"/>
            <a:ext cx="11377083" cy="5271771"/>
          </a:xfrm>
        </p:spPr>
        <p:txBody>
          <a:bodyPr/>
          <a:lstStyle/>
          <a:p>
            <a:pPr marL="0" lvl="0" indent="0" algn="just" defTabSz="914400" fontAlgn="base" latinLnBrk="0">
              <a:spcAft>
                <a:spcPct val="0"/>
              </a:spcAft>
              <a:buNone/>
            </a:pPr>
            <a:r>
              <a:rPr lang="ar-SA" sz="1700" b="1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آمادگی برای نمونه گیری خون و ادرار</a:t>
            </a:r>
            <a:r>
              <a:rPr lang="en-US" sz="1700" b="1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:</a:t>
            </a:r>
            <a:endParaRPr lang="en-US" sz="1700" dirty="0">
              <a:solidFill>
                <a:srgbClr val="333333"/>
              </a:solidFill>
              <a:latin typeface="Microsoft Sans Serif"/>
              <a:cs typeface="B Nazanin" panose="00000400000000000000" pitchFamily="2" charset="-78"/>
            </a:endParaRPr>
          </a:p>
          <a:p>
            <a:pPr marL="0" lvl="0" indent="0" defTabSz="914400" fontAlgn="base" latinLnBrk="0">
              <a:lnSpc>
                <a:spcPct val="150000"/>
              </a:lnSpc>
              <a:spcAft>
                <a:spcPct val="0"/>
              </a:spcAft>
              <a:buNone/>
            </a:pP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از زمان دریافت این فرم تا زمان مراجعه برای نمونه گیری، رژیم غذایی معمول خود را ادامه داده و سعی کنید وزن تان تغییر نکند. </a:t>
            </a:r>
            <a: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/>
            </a:r>
            <a:b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</a:b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لازم است دست کم </a:t>
            </a:r>
            <a:r>
              <a:rPr lang="fa-IR" sz="1700" dirty="0" smtClean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8 تا 12 </a:t>
            </a: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ساعت قبل از نمونه گیری ناشتا باشید. به این معنا که از حدود ساعت</a:t>
            </a:r>
            <a: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 8 </a:t>
            </a: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شب قبل از نمونه گیری، شام سبک (غذای کم حجم و کم چرب) میل فرمایید</a:t>
            </a:r>
            <a: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. </a:t>
            </a: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در این فاصله، تنها نوشیدن آب و داروهای تجویز شده از طرف پزشک معالج بلامانع است</a:t>
            </a:r>
            <a: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.</a:t>
            </a:r>
            <a:r>
              <a:rPr lang="fa-IR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/>
            </a:r>
            <a:br>
              <a:rPr lang="fa-IR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</a:br>
            <a: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/>
            </a:r>
            <a:b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</a:b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حداقل از </a:t>
            </a:r>
            <a:r>
              <a:rPr lang="fa-IR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۱۴ </a:t>
            </a: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ساعت قبل از نمونه گیری، ورزش یا فعالیت بدنی سنگین انجام ندهید</a:t>
            </a:r>
            <a: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.</a:t>
            </a:r>
            <a:b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</a:b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در صورتی که دارو مصرف می کنید، در روز نمونه گیری به مس</a:t>
            </a:r>
            <a:r>
              <a:rPr lang="fa-IR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ئو</a:t>
            </a: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ل آزمایشگاه اطلاع دهید</a:t>
            </a:r>
            <a: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.</a:t>
            </a:r>
            <a:b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</a:br>
            <a:r>
              <a:rPr lang="fa-IR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فرد شرکت کننده باید داروهای خود را طبق روال معمول مصرف نماید و در روز نمونه گیری داروهایی که میل نموده است را همراه داشته باشد و به نمونه گیر نشان دهد.</a:t>
            </a:r>
            <a: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/>
            </a:r>
            <a:br>
              <a:rPr lang="en-US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</a:b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برای انجام نمونه گیری ادرار لازم است پس از بیدار شدن، ادرار صبحگاهی خود را </a:t>
            </a:r>
            <a:r>
              <a:rPr lang="fa-IR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در خانه </a:t>
            </a:r>
            <a:r>
              <a:rPr lang="ar-SA" sz="17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تخلیه نمایید و پس از آن برای نمونه گیری به آزمایشگاه منتخب مراجعه نمایید.</a:t>
            </a:r>
            <a:endParaRPr lang="en-US" sz="1700" dirty="0">
              <a:solidFill>
                <a:srgbClr val="333333"/>
              </a:solidFill>
              <a:latin typeface="Microsoft Sans Serif"/>
              <a:cs typeface="B Nazanin" panose="00000400000000000000" pitchFamily="2" charset="-78"/>
            </a:endParaRPr>
          </a:p>
          <a:p>
            <a:pPr marL="0" lvl="0" indent="0" defTabSz="914400" fontAlgn="base" latinLnBrk="0">
              <a:lnSpc>
                <a:spcPct val="150000"/>
              </a:lnSpc>
              <a:spcAft>
                <a:spcPct val="0"/>
              </a:spcAft>
              <a:buNone/>
            </a:pPr>
            <a:r>
              <a:rPr lang="fa-IR" sz="1800" b="1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آدرس آزمایشگاه:</a:t>
            </a:r>
          </a:p>
          <a:p>
            <a:pPr marL="0" lvl="0" indent="0" defTabSz="914400" fontAlgn="base" latinLnBrk="0">
              <a:lnSpc>
                <a:spcPct val="150000"/>
              </a:lnSpc>
              <a:spcAft>
                <a:spcPct val="0"/>
              </a:spcAft>
              <a:buNone/>
            </a:pPr>
            <a:r>
              <a:rPr lang="fa-IR" sz="1800" b="1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شماره تماس آزمایشگاه:</a:t>
            </a:r>
          </a:p>
          <a:p>
            <a:pPr marL="0" lvl="0" indent="0" defTabSz="914400" fontAlgn="base" latinLnBrk="0">
              <a:lnSpc>
                <a:spcPct val="150000"/>
              </a:lnSpc>
              <a:spcAft>
                <a:spcPct val="0"/>
              </a:spcAft>
              <a:buNone/>
            </a:pPr>
            <a:r>
              <a:rPr lang="fa-IR" sz="1800" b="1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تاریخ و ساعت مراجعه:</a:t>
            </a:r>
          </a:p>
          <a:p>
            <a:pPr marL="0" lvl="0" indent="0" defTabSz="914400" fontAlgn="base" latinLnBrk="0">
              <a:lnSpc>
                <a:spcPct val="150000"/>
              </a:lnSpc>
              <a:spcAft>
                <a:spcPct val="0"/>
              </a:spcAft>
              <a:buNone/>
            </a:pPr>
            <a:r>
              <a:rPr lang="fa-IR" sz="1800" b="1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آدرس سایت سپید: </a:t>
            </a:r>
            <a:r>
              <a:rPr lang="en-US" sz="1800" b="1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sepid.rabit.info</a:t>
            </a:r>
          </a:p>
          <a:p>
            <a:pPr marL="0" lvl="0" indent="0" defTabSz="914400" fontAlgn="base" latinLnBrk="0">
              <a:lnSpc>
                <a:spcPct val="150000"/>
              </a:lnSpc>
              <a:spcAft>
                <a:spcPct val="0"/>
              </a:spcAft>
              <a:buNone/>
            </a:pPr>
            <a:endParaRPr lang="en-US" sz="2600" dirty="0">
              <a:solidFill>
                <a:srgbClr val="333333"/>
              </a:solidFill>
              <a:latin typeface="Microsoft Sans Serif"/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5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582355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456" y="207971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فرم خون گیری (شماره 1 کاغذی</a:t>
            </a:r>
            <a:r>
              <a:rPr lang="fa-IR" dirty="0" smtClean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)</a:t>
            </a:r>
            <a:endParaRPr lang="en-US" sz="6600" dirty="0">
              <a:solidFill>
                <a:schemeClr val="tx1">
                  <a:lumMod val="50000"/>
                </a:schemeClr>
              </a:solidFill>
              <a:cs typeface="B Nazanin" panose="00000400000000000000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6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74294849"/>
              </p:ext>
            </p:extLst>
          </p:nvPr>
        </p:nvGraphicFramePr>
        <p:xfrm>
          <a:off x="1651683" y="1488043"/>
          <a:ext cx="9723549" cy="4855335"/>
        </p:xfrm>
        <a:graphic>
          <a:graphicData uri="http://schemas.openxmlformats.org/drawingml/2006/table">
            <a:tbl>
              <a:tblPr rtl="1" firstRow="1" firstCol="1" bandRow="1"/>
              <a:tblGrid>
                <a:gridCol w="5513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504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3278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5519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066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44569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078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07867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445694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51335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31287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116667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1166672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205919">
                <a:tc gridSpan="1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a-IR" sz="1100" dirty="0">
                          <a:effectLst/>
                          <a:cs typeface="B Nazanin" panose="00000400000000000000" pitchFamily="2" charset="-78"/>
                        </a:rPr>
                        <a:t>نام استان: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5919">
                <a:tc gridSpan="1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آزمایشگاه منتخب شهرستان/ روستا: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5919">
                <a:tc gridSpan="1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مرحله خونگیری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5919">
                <a:tc gridSpan="5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نام نمونه گیر: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8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تاریخ خونگیری: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1064">
                <a:tc rowSpan="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marL="71755" marR="71755"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ردیف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vert="vert27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marL="71755" marR="71755"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کدملی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vert="vert27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marL="71755" marR="71755"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نام و نام خانوادگی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vert="vert27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marL="71755" marR="71755"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نام شهرستان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vert="vert27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marL="71755" marR="71755"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کد فرد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vert="vert27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marL="71755" marR="71755"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ساعت خونگیری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vert="vert27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فعالیت بدنی سنگین</a:t>
                      </a:r>
                      <a:endParaRPr lang="en-US" sz="1000">
                        <a:effectLst/>
                        <a:cs typeface="B Nazanin" panose="00000400000000000000" pitchFamily="2" charset="-78"/>
                      </a:endParaRPr>
                    </a:p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بلی</a:t>
                      </a:r>
                      <a:endParaRPr lang="en-US" sz="1000">
                        <a:effectLst/>
                        <a:cs typeface="B Nazanin" panose="00000400000000000000" pitchFamily="2" charset="-78"/>
                      </a:endParaRPr>
                    </a:p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خیر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وضعیت ناشتایی از ساعت....تا ساعت....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آیا دارویی مصرف می کند؟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حالت غیر طبیعی در زمان نمونه گیری( دیر بند آمدن خون یا از حال رفتن)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591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marL="71755" marR="71755"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خیر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vert="vert27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بله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marL="71755" marR="71755"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خیر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vert="vert27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 dirty="0">
                          <a:effectLst/>
                          <a:cs typeface="B Nazanin" panose="00000400000000000000" pitchFamily="2" charset="-78"/>
                        </a:rPr>
                        <a:t>اگر جواب بله است چه اتفاقی افتاده و چه راهکاری در نظر گرفته شده است؟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9851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  <a:cs typeface="B Nazanin" panose="00000400000000000000" pitchFamily="2" charset="-78"/>
                        </a:rPr>
                        <a:t>نام دارو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 dirty="0">
                          <a:effectLst/>
                          <a:cs typeface="B Nazanin" panose="00000400000000000000" pitchFamily="2" charset="-78"/>
                        </a:rPr>
                        <a:t>زمان آخرین مصرف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145" marR="60145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60909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68581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60909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29585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29585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>
                          <a:effectLst/>
                        </a:rPr>
                        <a:t> </a:t>
                      </a:r>
                      <a:endParaRPr lang="en-US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100" dirty="0">
                          <a:effectLst/>
                        </a:rPr>
                        <a:t> </a:t>
                      </a:r>
                      <a:endParaRPr lang="en-US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145" marR="60145" marT="0" marB="0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588978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1946" y="220850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فرم خون گیری (تبلت</a:t>
            </a:r>
            <a:r>
              <a:rPr lang="fa-IR" dirty="0" smtClean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)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533854"/>
            <a:ext cx="10464800" cy="4607984"/>
          </a:xfrm>
        </p:spPr>
        <p:txBody>
          <a:bodyPr/>
          <a:lstStyle/>
          <a:p>
            <a:pPr marL="0" lvl="0" indent="0" defTabSz="914400" fontAlgn="base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نام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نمونه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گیر</a:t>
            </a:r>
            <a:r>
              <a:rPr lang="en-US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:</a:t>
            </a:r>
            <a:endParaRPr lang="en-US" sz="18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lvl="0" indent="0" defTabSz="914400" fontAlgn="base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تاریخ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 خون گیری</a:t>
            </a:r>
            <a:r>
              <a:rPr lang="en-US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:</a:t>
            </a:r>
            <a:endParaRPr lang="en-US" sz="18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lvl="0" indent="0" defTabSz="914400" fontAlgn="base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ساعت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خون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گیری</a:t>
            </a:r>
            <a:r>
              <a:rPr lang="en-US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:</a:t>
            </a:r>
            <a:endParaRPr lang="en-US" sz="18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lvl="0" indent="0" defTabSz="914400" fontAlgn="base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وضعیت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ناشتایی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از ساعت...... تا ساعت.........</a:t>
            </a:r>
            <a:endParaRPr lang="en-US" sz="18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lvl="0" indent="0" defTabSz="914400" fontAlgn="base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آیا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دارویی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مصرف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می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کند؟  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   بلی      خیر</a:t>
            </a:r>
            <a:r>
              <a:rPr lang="en-US" sz="2000" dirty="0">
                <a:solidFill>
                  <a:srgbClr val="333333"/>
                </a:solidFill>
                <a:latin typeface="Symbol" panose="05050102010706020507" pitchFamily="18" charset="2"/>
                <a:ea typeface="Calibri" panose="020F0502020204030204" pitchFamily="34" charset="0"/>
                <a:cs typeface="B Nazanin" panose="00000400000000000000" pitchFamily="2" charset="-78"/>
              </a:rPr>
              <a:t> </a:t>
            </a:r>
            <a:endParaRPr lang="en-US" sz="18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lvl="0" indent="0" defTabSz="914400" fontAlgn="base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اگر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پاسخ «بله»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است؛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نام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دارو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یا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داروهای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مصرفی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توسط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؟</a:t>
            </a:r>
            <a:endParaRPr lang="en-US" sz="18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lvl="0" indent="0" defTabSz="914400" fontAlgn="base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آخرین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زمان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مصرف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Mitra,Bold"/>
              </a:rPr>
              <a:t> </a:t>
            </a: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دارو:</a:t>
            </a:r>
            <a:endParaRPr lang="en-US" sz="18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lvl="0" indent="0" defTabSz="914400" fontAlgn="base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آیا در زمان نمونه گیری، فرد دچار حالت غیرطبیعی (دیر بند آمدن خون یا از حال رفتن) شده است؟</a:t>
            </a:r>
            <a:endParaRPr lang="en-US" sz="18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lvl="0" indent="0" defTabSz="914400" fontAlgn="base" latinLnBrk="0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r>
              <a:rPr lang="ar-SA" sz="2000" dirty="0">
                <a:solidFill>
                  <a:srgbClr val="333333"/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اگر جواب بله است؛ چه اتفاقی افتاده و چه راهکاری در نظر گرفته شده است؟</a:t>
            </a:r>
            <a:endParaRPr lang="en-US" sz="1800" dirty="0">
              <a:solidFill>
                <a:srgbClr val="333333"/>
              </a:solidFill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342900" lvl="0" indent="-342900" algn="l" defTabSz="914400" rtl="0" fontAlgn="base" latinLnBrk="0">
              <a:spcAft>
                <a:spcPct val="0"/>
              </a:spcAft>
              <a:buFontTx/>
              <a:buChar char="•"/>
            </a:pPr>
            <a:endParaRPr lang="en-US" sz="2000" dirty="0">
              <a:solidFill>
                <a:srgbClr val="333333"/>
              </a:solidFill>
              <a:latin typeface="Microsoft Sans Serif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284749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60112" y="233729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فرم جداسازی (شماره 2 کاغذی)</a:t>
            </a:r>
            <a:endParaRPr lang="en-US" dirty="0"/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sz="quarter" idx="10"/>
            <p:extLst>
              <p:ext uri="{D42A27DB-BD31-4B8C-83A1-F6EECF244321}">
                <p14:modId xmlns:p14="http://schemas.microsoft.com/office/powerpoint/2010/main" val="2899907679"/>
              </p:ext>
            </p:extLst>
          </p:nvPr>
        </p:nvGraphicFramePr>
        <p:xfrm>
          <a:off x="1390918" y="1737260"/>
          <a:ext cx="9984314" cy="4404578"/>
        </p:xfrm>
        <a:graphic>
          <a:graphicData uri="http://schemas.openxmlformats.org/drawingml/2006/table">
            <a:tbl>
              <a:tblPr rtl="1" firstRow="1" firstCol="1" bandRow="1">
                <a:tableStyleId>{5940675A-B579-460E-94D1-54222C63F5DA}</a:tableStyleId>
              </a:tblPr>
              <a:tblGrid>
                <a:gridCol w="10295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171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025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2178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322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1386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422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73281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77328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773281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73281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459357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59357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87502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171830">
                <a:tc gridSpan="14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نام استان: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2833">
                <a:tc gridSpan="14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آزمایشگاه منتخب شهرستان/ روستا: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1830">
                <a:tc gridSpan="14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مرحله آماده سازی نمونه ها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1830">
                <a:tc gridSpan="6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نام و نام خانودگی مسول جداسازی نمونه ها: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تاریخ جداسازی نمونه ها: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9149">
                <a:tc row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کدملی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row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نام و نام خانوادگی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row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نام شهرستان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row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کد فرد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gridSpan="3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ساعت دقیق جداسازی نمونه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دمای جداسازی نمونه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حجم نمونه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تمام یا بخشی از نمونه از بین رفته است؟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 dirty="0">
                          <a:effectLst/>
                          <a:cs typeface="B Nazanin" panose="00000400000000000000" pitchFamily="2" charset="-78"/>
                        </a:rPr>
                        <a:t>زمان انتقال اخرین نمونه به یخچال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54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سرم 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پلاسما بیوشیمی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سرم 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پلاسما بیوشیمی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سرم 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پلاسما بیوشیمی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cs typeface="B Nazanin" panose="00000400000000000000" pitchFamily="2" charset="-78"/>
                        </a:rPr>
                        <a:t>بلی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 dirty="0">
                          <a:effectLst/>
                          <a:cs typeface="B Nazanin" panose="00000400000000000000" pitchFamily="2" charset="-78"/>
                        </a:rPr>
                        <a:t>خیر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57293" marR="57293" marT="0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92702"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92702"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92702"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92702"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92702"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92702"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92702"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92702"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gridSpan="2"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tc>
                  <a:txBody>
                    <a:bodyPr/>
                    <a:lstStyle/>
                    <a:p>
                      <a:pPr algn="justLow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 dirty="0">
                          <a:effectLst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7293" marR="57293" marT="0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8</a:t>
            </a:fld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978882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2140" y="0"/>
            <a:ext cx="10559819" cy="1035373"/>
          </a:xfrm>
        </p:spPr>
        <p:txBody>
          <a:bodyPr/>
          <a:lstStyle/>
          <a:p>
            <a:r>
              <a:rPr lang="fa-IR" sz="44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فرم جداسازی نمونه سرم و پلاسما بیوشیمی (تبلت)</a:t>
            </a:r>
            <a:endParaRPr lang="en-US" sz="44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914400" y="1035373"/>
            <a:ext cx="10957559" cy="5109608"/>
          </a:xfrm>
        </p:spPr>
        <p:txBody>
          <a:bodyPr/>
          <a:lstStyle/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نام و نام خانوادگی مسؤول جداسازی نمونه: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تاریخ جداسازی نمونه: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ساعت دقیق جداسازی نمونه پلاسما بیوشیمی: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ساعت دقیق جداسازی نمونه سرم: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دمای جداسازی نمونه پلاسما بیوشیمی: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دمای جداسازی نمونه سرم: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حجم نمونه پلاسما بیوشیمی: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حجم نمونه سرم: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زمان انتقال نمونه به یخچال 4 درجه سلسیوس: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تمام یا بخشی از نمونه در طی انتقال، ریخته شده یا به هر دلیلی از دست رفته است؟       بلی        خیر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اگر جواب سوال قبل، «بلی» است؛ مراتب باید بلافاصله به مسؤول آزمایشگاه اطلاع داده شود (برای ثبت مشخصات فرد در فرم لکه گیری).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علت از دست رفتن نمونه: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توجه: در صورتی که نمونه ایکتریک، لیپمیک یا همولیز باشد؛ در شرایط دمایی نامناسب منتقل شده باشد یا هر توضیح خاصی در مورد نمونه وجود داشته باشد؛ در این قسمت نوشته شود.</a:t>
            </a:r>
          </a:p>
          <a:p>
            <a:pPr marL="0" lvl="0" indent="0" defTabSz="914400" rtl="0" fontAlgn="base" latinLnBrk="0">
              <a:spcAft>
                <a:spcPct val="0"/>
              </a:spcAft>
              <a:buNone/>
            </a:pPr>
            <a:r>
              <a:rPr lang="fa-IR" sz="1800" dirty="0">
                <a:solidFill>
                  <a:srgbClr val="333333"/>
                </a:solidFill>
                <a:latin typeface="Microsoft Sans Serif"/>
                <a:cs typeface="B Nazanin" panose="00000400000000000000" pitchFamily="2" charset="-78"/>
              </a:rPr>
              <a:t>ملاحظات:</a:t>
            </a:r>
          </a:p>
          <a:p>
            <a:pPr marL="342900" lvl="0" indent="-342900" algn="l" defTabSz="914400" rtl="0" fontAlgn="base" latinLnBrk="0">
              <a:spcAft>
                <a:spcPct val="0"/>
              </a:spcAft>
              <a:buFontTx/>
              <a:buChar char="•"/>
            </a:pPr>
            <a:endParaRPr lang="en-US" sz="1800" dirty="0">
              <a:solidFill>
                <a:srgbClr val="333333"/>
              </a:solidFill>
              <a:latin typeface="Microsoft Sans Serif"/>
            </a:endParaRP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49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072297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8693" y="12436"/>
            <a:ext cx="10559819" cy="1035373"/>
          </a:xfrm>
        </p:spPr>
        <p:txBody>
          <a:bodyPr/>
          <a:lstStyle/>
          <a:p>
            <a:r>
              <a:rPr lang="fa-IR" altLang="ko-KR" dirty="0">
                <a:solidFill>
                  <a:schemeClr val="tx1">
                    <a:lumMod val="50000"/>
                  </a:schemeClr>
                </a:solidFill>
                <a:cs typeface="B Nazanin" panose="00000400000000000000" pitchFamily="2" charset="-78"/>
              </a:rPr>
              <a:t>بسته طراحی شده </a:t>
            </a:r>
            <a:r>
              <a:rPr lang="fa-IR" altLang="ko-KR" dirty="0" smtClean="0">
                <a:solidFill>
                  <a:schemeClr val="tx1">
                    <a:lumMod val="50000"/>
                  </a:schemeClr>
                </a:solidFill>
                <a:cs typeface="B Nazanin" panose="00000400000000000000" pitchFamily="2" charset="-78"/>
              </a:rPr>
              <a:t>فردی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506827" y="1027557"/>
            <a:ext cx="10311685" cy="889397"/>
          </a:xfrm>
        </p:spPr>
        <p:txBody>
          <a:bodyPr/>
          <a:lstStyle/>
          <a:p>
            <a:pPr marL="0" indent="0">
              <a:buNone/>
            </a:pPr>
            <a:r>
              <a:rPr lang="fa-IR" sz="24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بسته‌ی</a:t>
            </a:r>
            <a:r>
              <a:rPr lang="fa-IR" sz="2400" dirty="0">
                <a:latin typeface="Times New Roman" panose="02020603050405020304" pitchFamily="18" charset="0"/>
                <a:ea typeface="Times New Roman" panose="02020603050405020304" pitchFamily="18" charset="0"/>
                <a:cs typeface="B Nazanin" panose="00000400000000000000" pitchFamily="2" charset="-78"/>
              </a:rPr>
              <a:t> </a:t>
            </a:r>
            <a:r>
              <a:rPr lang="fa-IR" sz="2400" dirty="0"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طراحی شده برای هر فرد توسط ستاد اجرایی دانشگاه در اختیار آزمایشگاه منتخب قرار خواهد گرفت و شامل موارد ذکر شده در جدول زیر است. (بسته رفت)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5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64301911"/>
              </p:ext>
            </p:extLst>
          </p:nvPr>
        </p:nvGraphicFramePr>
        <p:xfrm>
          <a:off x="3747752" y="1924770"/>
          <a:ext cx="7234854" cy="4880077"/>
        </p:xfrm>
        <a:graphic>
          <a:graphicData uri="http://schemas.openxmlformats.org/drawingml/2006/table">
            <a:tbl>
              <a:tblPr rtl="1" firstRow="1" firstCol="1" lastRow="1" lastCol="1" bandRow="1" bandCol="1"/>
              <a:tblGrid>
                <a:gridCol w="4734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5507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1061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590369">
                <a:tc>
                  <a:txBody>
                    <a:bodyPr/>
                    <a:lstStyle/>
                    <a:p>
                      <a:pPr marL="73025" marR="73025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800" b="1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ردیف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vert="vert27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8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وسایل مورد نیاز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800" b="1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تعداد  به ازای  هر نفر</a:t>
                      </a:r>
                      <a:endParaRPr lang="en-US" sz="16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9964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 </a:t>
                      </a:r>
                      <a:r>
                        <a:rPr lang="fa-IR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خلاء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3 </a:t>
                      </a:r>
                      <a:r>
                        <a:rPr lang="fa-IR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میلی لیتری سدیم فلوراید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-  با سرپوش خاکستری رنگ 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(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رای 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تهیه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پلاسما آزمون بیوشیمی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 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59964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2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5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میلی لیتری برای انتقال پلاسما جدا شده از لوله های ردیف 1-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(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لند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ا سرپوش </a:t>
                      </a:r>
                      <a:r>
                        <a:rPr lang="fa-IR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قرمز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رنگ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9388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3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خلاء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7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میلی لیتری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خته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-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ا سرپوش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قرمز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رنگ 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(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رای 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تهیه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سرم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2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عدد 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9964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4</a:t>
                      </a:r>
                      <a:endParaRPr lang="en-US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9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میلی لیتری  برای انتقال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سرم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جدا شده از لوله های ردیف 3-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(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لند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ا سرپوش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سفید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رنگ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684649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5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خلاء 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3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میلی لیتری 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حاوی</a:t>
                      </a:r>
                      <a:r>
                        <a:rPr lang="en-US" sz="1600" kern="1200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EDTA </a:t>
                      </a:r>
                      <a:r>
                        <a:rPr lang="en-US" sz="1600" kern="12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K2</a:t>
                      </a:r>
                      <a:r>
                        <a:rPr lang="en-US" sz="1600" kern="1200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-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ا </a:t>
                      </a:r>
                      <a:r>
                        <a:rPr lang="fa-IR" sz="1600" kern="120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سرپوش بنفش رنگ </a:t>
                      </a:r>
                      <a:endParaRPr lang="en-US" sz="14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(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رای </a:t>
                      </a: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جمع آوری و انتقال خون</a:t>
                      </a:r>
                      <a:r>
                        <a:rPr lang="fa-IR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کامل)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ar-SA" sz="160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615900">
                <a:tc>
                  <a:txBody>
                    <a:bodyPr/>
                    <a:lstStyle/>
                    <a:p>
                      <a:pPr marL="0" marR="0" algn="ctr" defTabSz="914400" rtl="1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6</a:t>
                      </a:r>
                      <a:endParaRPr lang="en-US" sz="160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defTabSz="914400" rtl="1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یوان ادرار</a:t>
                      </a:r>
                      <a:endParaRPr lang="en-US" sz="160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defTabSz="914400" rtl="1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</a:t>
                      </a:r>
                      <a:endParaRPr lang="en-US" sz="160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15900">
                <a:tc>
                  <a:txBody>
                    <a:bodyPr/>
                    <a:lstStyle/>
                    <a:p>
                      <a:pPr marL="0" marR="0" algn="ctr" defTabSz="914400" rtl="1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</a:pP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7</a:t>
                      </a:r>
                      <a:endParaRPr lang="en-US" sz="1600" kern="1200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5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میلی لیتری برای انتقال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ادرار الیکوت 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شده از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ظرف ادرار ردیف 6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(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لوله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لند</a:t>
                      </a:r>
                      <a:r>
                        <a:rPr lang="ar-SA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با سرپوش </a:t>
                      </a: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قرمز رنگ)</a:t>
                      </a:r>
                      <a:endParaRPr lang="en-US" sz="1400" dirty="0" smtClean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1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10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60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</a:t>
                      </a:r>
                      <a:endParaRPr lang="en-US" sz="1600" kern="1200" dirty="0" smtClean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0325" marR="603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93" t="2442" r="2864" b="15118"/>
          <a:stretch/>
        </p:blipFill>
        <p:spPr>
          <a:xfrm>
            <a:off x="1127742" y="1924770"/>
            <a:ext cx="2285157" cy="1623275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6" t="20078" b="4428"/>
          <a:stretch/>
        </p:blipFill>
        <p:spPr>
          <a:xfrm rot="16200000">
            <a:off x="1174670" y="4187300"/>
            <a:ext cx="2189673" cy="2237327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</p:spTree>
    <p:extLst>
      <p:ext uri="{BB962C8B-B14F-4D97-AF65-F5344CB8AC3E}">
        <p14:creationId xmlns:p14="http://schemas.microsoft.com/office/powerpoint/2010/main" val="2495522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456" y="211191"/>
            <a:ext cx="10559819" cy="1035373"/>
          </a:xfrm>
        </p:spPr>
        <p:txBody>
          <a:bodyPr/>
          <a:lstStyle/>
          <a:p>
            <a:r>
              <a:rPr lang="ar-SA" sz="40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فرم ثبت </a:t>
            </a:r>
            <a:r>
              <a:rPr lang="fa-IR" sz="40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مشخصات افراد ارسال کننده و افراد شرکت کننده </a:t>
            </a:r>
            <a:r>
              <a:rPr lang="ar-SA" sz="40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(</a:t>
            </a:r>
            <a:r>
              <a:rPr lang="fa-IR" sz="40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شماره 3 </a:t>
            </a:r>
            <a:r>
              <a:rPr lang="ar-SA" sz="40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کاغذی)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439366" y="1522486"/>
            <a:ext cx="7188273" cy="1782233"/>
          </a:xfrm>
        </p:spPr>
        <p:txBody>
          <a:bodyPr/>
          <a:lstStyle/>
          <a:p>
            <a:pPr marL="0" lvl="0" indent="0" defTabSz="914400" eaLnBrk="0" fontAlgn="base" latinLnBrk="0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ar-SA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نام استان:                                                              نام شهرستان:</a:t>
            </a:r>
            <a:endParaRPr lang="en-US" altLang="en-US" sz="2000" dirty="0">
              <a:solidFill>
                <a:srgbClr val="333333">
                  <a:lumMod val="50000"/>
                </a:srgbClr>
              </a:solidFill>
              <a:latin typeface="B Mitra,Bold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lvl="0" indent="0" defTabSz="914400" eaLnBrk="0" fontAlgn="base" latinLnBrk="0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fa-IR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نام ارسال کننده از شهرستان:</a:t>
            </a:r>
            <a:endParaRPr lang="en-US" altLang="en-US" sz="2000" dirty="0">
              <a:solidFill>
                <a:srgbClr val="333333">
                  <a:lumMod val="50000"/>
                </a:srgbClr>
              </a:solidFill>
              <a:latin typeface="B Mitra,Bold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lvl="0" indent="0" defTabSz="914400" eaLnBrk="0" fontAlgn="base" latinLnBrk="0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ar-SA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تاریخ </a:t>
            </a:r>
            <a:r>
              <a:rPr lang="fa-IR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ارسا</a:t>
            </a:r>
            <a:r>
              <a:rPr lang="ar-SA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ل از شهرستان</a:t>
            </a:r>
            <a:r>
              <a:rPr lang="en-US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 :</a:t>
            </a:r>
            <a:r>
              <a:rPr lang="ar-SA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                  </a:t>
            </a:r>
            <a:r>
              <a:rPr lang="en-US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             </a:t>
            </a:r>
            <a:r>
              <a:rPr lang="ar-SA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          ساعت ارسال از شهرستان:  </a:t>
            </a:r>
            <a:endParaRPr lang="en-US" altLang="en-US" sz="2000" dirty="0">
              <a:solidFill>
                <a:srgbClr val="333333">
                  <a:lumMod val="50000"/>
                </a:srgbClr>
              </a:solidFill>
              <a:latin typeface="B Mitra,Bold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lvl="0" indent="0" defTabSz="914400" eaLnBrk="0" fontAlgn="base" latinLnBrk="0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fa-IR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نام ارسال کننده از استان:</a:t>
            </a:r>
            <a:endParaRPr lang="en-US" altLang="en-US" sz="2000" dirty="0">
              <a:solidFill>
                <a:srgbClr val="333333">
                  <a:lumMod val="50000"/>
                </a:srgbClr>
              </a:solidFill>
              <a:latin typeface="B Mitra,Bold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lvl="0" indent="0" defTabSz="914400" eaLnBrk="0" fontAlgn="base" latinLnBrk="0" hangingPunct="0">
              <a:spcBef>
                <a:spcPct val="0"/>
              </a:spcBef>
              <a:spcAft>
                <a:spcPct val="0"/>
              </a:spcAft>
              <a:buNone/>
            </a:pPr>
            <a:r>
              <a:rPr lang="ar-SA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تاریخ </a:t>
            </a:r>
            <a:r>
              <a:rPr lang="fa-IR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ارسا</a:t>
            </a:r>
            <a:r>
              <a:rPr lang="ar-SA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ل از استان</a:t>
            </a:r>
            <a:r>
              <a:rPr lang="en-US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 :</a:t>
            </a:r>
            <a:r>
              <a:rPr lang="ar-SA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                      </a:t>
            </a:r>
            <a:r>
              <a:rPr lang="en-US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                  </a:t>
            </a:r>
            <a:r>
              <a:rPr lang="ar-SA" altLang="en-US" sz="2000" dirty="0">
                <a:solidFill>
                  <a:srgbClr val="333333">
                    <a:lumMod val="50000"/>
                  </a:srgbClr>
                </a:solidFill>
                <a:latin typeface="B Mitra,Bold"/>
                <a:ea typeface="Calibri" panose="020F0502020204030204" pitchFamily="34" charset="0"/>
                <a:cs typeface="B Nazanin" panose="00000400000000000000" pitchFamily="2" charset="-78"/>
              </a:rPr>
              <a:t>      ساعت ارسال از استان</a:t>
            </a:r>
            <a:r>
              <a:rPr lang="ar-SA" altLang="en-US" sz="1200" dirty="0">
                <a:solidFill>
                  <a:srgbClr val="333333">
                    <a:lumMod val="50000"/>
                  </a:srgbClr>
                </a:solidFill>
                <a:latin typeface="B Mitra,Bold" charset="-78"/>
                <a:ea typeface="Calibri" panose="020F0502020204030204" pitchFamily="34" charset="0"/>
                <a:cs typeface="B Nazanin" panose="00000400000000000000" pitchFamily="2" charset="-78"/>
              </a:rPr>
              <a:t>:  </a:t>
            </a:r>
            <a:endParaRPr lang="en-US" altLang="en-US" sz="1100" dirty="0">
              <a:solidFill>
                <a:srgbClr val="333333">
                  <a:lumMod val="50000"/>
                </a:srgbClr>
              </a:solidFill>
              <a:latin typeface="Microsoft Sans Serif"/>
            </a:endParaRPr>
          </a:p>
          <a:p>
            <a:pPr marL="0" lvl="0" indent="0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None/>
            </a:pPr>
            <a:endParaRPr lang="en-US" altLang="en-US" sz="1800" dirty="0">
              <a:solidFill>
                <a:srgbClr val="333333">
                  <a:lumMod val="50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0</a:t>
            </a:fld>
            <a:endParaRPr lang="en-US" dirty="0"/>
          </a:p>
        </p:txBody>
      </p:sp>
      <p:graphicFrame>
        <p:nvGraphicFramePr>
          <p:cNvPr id="5" name="Content Placeholder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7969778"/>
              </p:ext>
            </p:extLst>
          </p:nvPr>
        </p:nvGraphicFramePr>
        <p:xfrm>
          <a:off x="3219718" y="3304719"/>
          <a:ext cx="5950430" cy="3390378"/>
        </p:xfrm>
        <a:graphic>
          <a:graphicData uri="http://schemas.openxmlformats.org/drawingml/2006/table">
            <a:tbl>
              <a:tblPr rtl="1" firstRow="1" firstCol="1" bandRow="1"/>
              <a:tblGrid>
                <a:gridCol w="15759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19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60578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584123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587855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176518">
                <a:tc row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a-IR" sz="1000" dirty="0">
                          <a:effectLst/>
                          <a:latin typeface="B Mitra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نام و نام خانوادگی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fa-IR" sz="1000">
                          <a:effectLst/>
                          <a:latin typeface="Cambria" panose="02040503050406030204" pitchFamily="18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کد ملی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کد فرد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نوع نمونه ارسالی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6609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باکس خون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 dirty="0">
                          <a:effectLst/>
                          <a:latin typeface="B Mitra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حجم ادرار 24 ساعته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6518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6518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6518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 dirty="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6518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6518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 dirty="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6518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6518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6518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6518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6518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6518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6518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6518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6518"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6518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ar-SA" sz="1000" dirty="0">
                          <a:effectLst/>
                          <a:latin typeface="B Mitra,Bold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55238" marR="55238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03162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456" y="294066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cs typeface="B Nazanin" panose="00000400000000000000" pitchFamily="2" charset="-78"/>
              </a:rPr>
              <a:t>فرم نمونه‌گیری ادرار 24 ساعته(شماره 4 کاغذی)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1</a:t>
            </a:fld>
            <a:endParaRPr lang="en-US" dirty="0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199456" y="1790500"/>
            <a:ext cx="10515600" cy="4351338"/>
          </a:xfrm>
          <a:prstGeom prst="rect">
            <a:avLst/>
          </a:prstGeom>
        </p:spPr>
        <p:txBody>
          <a:bodyPr/>
          <a:lstStyle>
            <a:lvl1pPr marL="457189" indent="-457189" algn="l" defTabSz="121917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42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990575" indent="-380990" algn="l" defTabSz="121917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37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121917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2133547" indent="-304792" algn="l" defTabSz="1219170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1219170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121917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ar-SA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جدول شماره 1- روز و مدت زمان جمع آوری نمونه ادرار:</a:t>
            </a: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fa-IR" sz="1800" b="1" dirty="0" smtClean="0"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indent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fa-IR" sz="1800" b="1" dirty="0"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indent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None/>
            </a:pPr>
            <a:endParaRPr lang="fa-IR" sz="1800" b="1" dirty="0" smtClean="0"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indent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</a:pP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503050405090304" pitchFamily="18" charset="0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ar-SA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جدول شماره </a:t>
            </a:r>
            <a:r>
              <a:rPr lang="fa-IR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2</a:t>
            </a:r>
            <a:r>
              <a:rPr lang="ar-SA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- ادرار از دست رفته:</a:t>
            </a: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r>
              <a:rPr lang="ar-SA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جدول شماره </a:t>
            </a:r>
            <a:r>
              <a:rPr lang="fa-IR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3</a:t>
            </a:r>
            <a:r>
              <a:rPr lang="ar-SA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- </a:t>
            </a:r>
            <a:r>
              <a:rPr lang="fa-IR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دارو</a:t>
            </a:r>
            <a:r>
              <a:rPr lang="ar-SA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B Nazanin" panose="00000400000000000000" pitchFamily="2" charset="-78"/>
              </a:rPr>
              <a:t>های مصرف شده توسط فرد:</a:t>
            </a:r>
            <a:endParaRPr lang="en-US" sz="1400" dirty="0" smtClean="0"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B Nazanin" panose="00000400000000000000" pitchFamily="2" charset="-78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400" dirty="0" smtClean="0"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503050405090304" pitchFamily="18" charset="0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fa-IR" sz="1600" b="1" dirty="0" smtClean="0"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indent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  <a:buFont typeface="Arial" pitchFamily="34" charset="0"/>
              <a:buNone/>
            </a:pPr>
            <a:endParaRPr lang="en-US" sz="1400" dirty="0" smtClean="0"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marL="0" algn="r" rtl="1">
              <a:lnSpc>
                <a:spcPct val="107000"/>
              </a:lnSpc>
              <a:spcBef>
                <a:spcPts val="0"/>
              </a:spcBef>
              <a:spcAft>
                <a:spcPts val="800"/>
              </a:spcAft>
            </a:pPr>
            <a:endParaRPr lang="en-US" sz="1600" dirty="0" smtClean="0">
              <a:latin typeface="Calibri" panose="020F0502020204030204" pitchFamily="34" charset="0"/>
              <a:ea typeface="Calibri" panose="020F0502020204030204" pitchFamily="34" charset="0"/>
              <a:cs typeface="Arial" panose="020B0604020202090204" pitchFamily="34" charset="0"/>
            </a:endParaRPr>
          </a:p>
          <a:p>
            <a:pPr algn="r" rtl="1"/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6777251"/>
              </p:ext>
            </p:extLst>
          </p:nvPr>
        </p:nvGraphicFramePr>
        <p:xfrm>
          <a:off x="2575194" y="2521822"/>
          <a:ext cx="5937250" cy="684849"/>
        </p:xfrm>
        <a:graphic>
          <a:graphicData uri="http://schemas.openxmlformats.org/drawingml/2006/table">
            <a:tbl>
              <a:tblPr rtl="1" firstRow="1" firstCol="1" bandRow="1"/>
              <a:tblGrid>
                <a:gridCol w="21653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7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145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تاریخ</a:t>
                      </a:r>
                      <a:endParaRPr lang="en-US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ساعت</a:t>
                      </a:r>
                      <a:endParaRPr lang="en-US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زمان شروع نمونه گیری ادرار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زمان پایان نمونه گیری ادرار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7778201"/>
              </p:ext>
            </p:extLst>
          </p:nvPr>
        </p:nvGraphicFramePr>
        <p:xfrm>
          <a:off x="4089686" y="4206158"/>
          <a:ext cx="3323287" cy="617302"/>
        </p:xfrm>
        <a:graphic>
          <a:graphicData uri="http://schemas.openxmlformats.org/drawingml/2006/table">
            <a:tbl>
              <a:tblPr rtl="1" firstRow="1" firstCol="1" bandRow="1"/>
              <a:tblGrid>
                <a:gridCol w="15171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0613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08651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روز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ساعت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8651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495218"/>
              </p:ext>
            </p:extLst>
          </p:nvPr>
        </p:nvGraphicFramePr>
        <p:xfrm>
          <a:off x="2754716" y="5685272"/>
          <a:ext cx="5937250" cy="456566"/>
        </p:xfrm>
        <a:graphic>
          <a:graphicData uri="http://schemas.openxmlformats.org/drawingml/2006/table">
            <a:tbl>
              <a:tblPr rtl="1" firstRow="1" firstCol="1" bandRow="1"/>
              <a:tblGrid>
                <a:gridCol w="4508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86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400" b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2</a:t>
                      </a:r>
                      <a:endParaRPr lang="en-US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3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B Nazanin" panose="00000400000000000000" pitchFamily="2" charset="-78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9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6819565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17021" y="171819"/>
            <a:ext cx="10559819" cy="1035373"/>
          </a:xfrm>
        </p:spPr>
        <p:txBody>
          <a:bodyPr/>
          <a:lstStyle/>
          <a:p>
            <a:r>
              <a:rPr lang="fa-IR" sz="4400" dirty="0">
                <a:solidFill>
                  <a:schemeClr val="tx1"/>
                </a:solidFill>
                <a:cs typeface="B Nazanin" panose="00000400000000000000" pitchFamily="2" charset="-78"/>
              </a:rPr>
              <a:t>فرم ثبت نتایج آزمایش های شیمیایی </a:t>
            </a:r>
            <a:r>
              <a:rPr lang="fa-IR" sz="4400" dirty="0" smtClean="0">
                <a:solidFill>
                  <a:schemeClr val="tx1"/>
                </a:solidFill>
                <a:cs typeface="B Nazanin" panose="00000400000000000000" pitchFamily="2" charset="-78"/>
              </a:rPr>
              <a:t>ادرار</a:t>
            </a:r>
            <a:r>
              <a:rPr lang="ar-SA" sz="4400" dirty="0" smtClean="0">
                <a:solidFill>
                  <a:schemeClr val="tx1"/>
                </a:solidFill>
                <a:cs typeface="B Nazanin" panose="00000400000000000000" pitchFamily="2" charset="-78"/>
              </a:rPr>
              <a:t>(فرم </a:t>
            </a:r>
            <a:r>
              <a:rPr lang="fa-IR" sz="4400" dirty="0">
                <a:solidFill>
                  <a:schemeClr val="tx1"/>
                </a:solidFill>
                <a:cs typeface="B Nazanin" panose="00000400000000000000" pitchFamily="2" charset="-78"/>
              </a:rPr>
              <a:t>کاغذی </a:t>
            </a:r>
            <a:r>
              <a:rPr lang="ar-SA" sz="4400" dirty="0">
                <a:solidFill>
                  <a:schemeClr val="tx1"/>
                </a:solidFill>
                <a:cs typeface="B Nazanin" panose="00000400000000000000" pitchFamily="2" charset="-78"/>
              </a:rPr>
              <a:t>شماره </a:t>
            </a:r>
            <a:r>
              <a:rPr lang="fa-IR" sz="4400" dirty="0" smtClean="0">
                <a:solidFill>
                  <a:schemeClr val="tx1"/>
                </a:solidFill>
                <a:cs typeface="B Nazanin" panose="00000400000000000000" pitchFamily="2" charset="-78"/>
              </a:rPr>
              <a:t>5</a:t>
            </a:r>
            <a:r>
              <a:rPr lang="ar-SA" sz="4400" dirty="0" smtClean="0">
                <a:solidFill>
                  <a:schemeClr val="tx1"/>
                </a:solidFill>
                <a:cs typeface="B Nazanin" panose="00000400000000000000" pitchFamily="2" charset="-78"/>
              </a:rPr>
              <a:t>)</a:t>
            </a:r>
            <a:endParaRPr lang="en-US" sz="4400" dirty="0">
              <a:solidFill>
                <a:schemeClr val="tx1"/>
              </a:solidFill>
              <a:cs typeface="B Nazanin" panose="00000400000000000000" pitchFamily="2" charset="-78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186475"/>
            <a:ext cx="9342274" cy="1631956"/>
          </a:xfrm>
        </p:spPr>
        <p:txBody>
          <a:bodyPr/>
          <a:lstStyle/>
          <a:p>
            <a:pPr marL="0" indent="0">
              <a:buNone/>
            </a:pPr>
            <a:r>
              <a:rPr lang="fa-IR" sz="2800" b="1" dirty="0">
                <a:solidFill>
                  <a:srgbClr val="FF0000"/>
                </a:solidFill>
                <a:cs typeface="B Nazanin" panose="00000400000000000000" pitchFamily="2" charset="-78"/>
              </a:rPr>
              <a:t>لطفا به ترتیب تست ها روی قوطی های نوار ادرار توجه نمایید، سپس نتایج را در فرم زیر ثبت نمایید.</a:t>
            </a:r>
          </a:p>
          <a:p>
            <a:pPr marL="0" indent="0">
              <a:buNone/>
            </a:pPr>
            <a:r>
              <a:rPr lang="fa-IR" dirty="0" smtClean="0">
                <a:cs typeface="B Nazanin" panose="00000400000000000000" pitchFamily="2" charset="-78"/>
              </a:rPr>
              <a:t>کد </a:t>
            </a:r>
            <a:r>
              <a:rPr lang="fa-IR" dirty="0">
                <a:cs typeface="B Nazanin" panose="00000400000000000000" pitchFamily="2" charset="-78"/>
              </a:rPr>
              <a:t>فرد:                                              تاریخ:</a:t>
            </a:r>
            <a:endParaRPr lang="en-US" dirty="0"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2</a:t>
            </a:fld>
            <a:endParaRPr lang="en-U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4364284"/>
              </p:ext>
            </p:extLst>
          </p:nvPr>
        </p:nvGraphicFramePr>
        <p:xfrm>
          <a:off x="2549054" y="2839148"/>
          <a:ext cx="6264255" cy="4018852"/>
        </p:xfrm>
        <a:graphic>
          <a:graphicData uri="http://schemas.openxmlformats.org/drawingml/2006/table">
            <a:tbl>
              <a:tblPr rtl="1" firstRow="1" firstCol="1" bandRow="1"/>
              <a:tblGrid>
                <a:gridCol w="51237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0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2849">
                <a:tc grid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rine Analysis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17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b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1592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marL="457200" indent="1270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Yellow         2) Dark yellow        3)Red       4) Brown        5) Dark brown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b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lor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317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Clear            2) </a:t>
                      </a:r>
                      <a:r>
                        <a:rPr lang="en-US" sz="1000" b="1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miclear</a:t>
                      </a: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3)Turbid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b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ppearance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8771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Pos +          3) Pos++       4) Pos+++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ilirubin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0634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2                 3) 4                4) 8                 5)12        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robilinogen(mg/dl)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0634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Trace         3)  Pos +        4) Pos++         5)Pos+++           6)Pos++++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etone Bodies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4662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Pos +          3) Pos++ 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scorbic acid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1592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2) 50               3) 100            4)250             5)500                6)&gt;1000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lucose(mg/dl)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3356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2) Trace          3)  30             4) 100            5)500    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otein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01268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2) Trace          3) Pos +        4) Pos++        5)Pos+++      </a:t>
                      </a:r>
                    </a:p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 Negative      2) 5-10           3)50              4)300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od/Hgb</a:t>
                      </a:r>
                    </a:p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od/Ery/µl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5317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5                   2) 6                3) 6.5             4) 7                5) 8                 6)9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b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H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5317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Pos +  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itrite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50634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25             3) 75              4) 500 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eukocyte(leuko/ µl)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1592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1">
                        <a:lnSpc>
                          <a:spcPct val="107000"/>
                        </a:lnSpc>
                      </a:pPr>
                      <a:endParaRPr lang="en-US" sz="10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b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pecific Gravity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995746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1397" y="151102"/>
            <a:ext cx="11264720" cy="1035373"/>
          </a:xfrm>
        </p:spPr>
        <p:txBody>
          <a:bodyPr/>
          <a:lstStyle/>
          <a:p>
            <a:r>
              <a:rPr lang="fa-IR" sz="4400" dirty="0">
                <a:solidFill>
                  <a:schemeClr val="tx1"/>
                </a:solidFill>
                <a:cs typeface="B Nazanin" panose="00000400000000000000" pitchFamily="2" charset="-78"/>
              </a:rPr>
              <a:t>فرم ثبت نتایج آزمایش های شیمیایی ادرار 24 </a:t>
            </a:r>
            <a:r>
              <a:rPr lang="fa-IR" sz="4400" dirty="0" smtClean="0">
                <a:solidFill>
                  <a:schemeClr val="tx1"/>
                </a:solidFill>
                <a:cs typeface="B Nazanin" panose="00000400000000000000" pitchFamily="2" charset="-78"/>
              </a:rPr>
              <a:t>ساعته</a:t>
            </a:r>
            <a:r>
              <a:rPr lang="ar-SA" sz="4400" dirty="0" smtClean="0">
                <a:solidFill>
                  <a:schemeClr val="tx1"/>
                </a:solidFill>
                <a:cs typeface="B Nazanin" panose="00000400000000000000" pitchFamily="2" charset="-78"/>
              </a:rPr>
              <a:t>(فرم </a:t>
            </a:r>
            <a:r>
              <a:rPr lang="fa-IR" sz="4400" dirty="0">
                <a:solidFill>
                  <a:schemeClr val="tx1"/>
                </a:solidFill>
                <a:cs typeface="B Nazanin" panose="00000400000000000000" pitchFamily="2" charset="-78"/>
              </a:rPr>
              <a:t>کاغذی </a:t>
            </a:r>
            <a:r>
              <a:rPr lang="ar-SA" sz="4400" dirty="0">
                <a:solidFill>
                  <a:schemeClr val="tx1"/>
                </a:solidFill>
                <a:cs typeface="B Nazanin" panose="00000400000000000000" pitchFamily="2" charset="-78"/>
              </a:rPr>
              <a:t>شماره </a:t>
            </a:r>
            <a:r>
              <a:rPr lang="fa-IR" sz="4400" dirty="0">
                <a:solidFill>
                  <a:schemeClr val="tx1"/>
                </a:solidFill>
                <a:cs typeface="B Nazanin" panose="00000400000000000000" pitchFamily="2" charset="-78"/>
              </a:rPr>
              <a:t>6</a:t>
            </a:r>
            <a:r>
              <a:rPr lang="ar-SA" sz="4400" dirty="0">
                <a:solidFill>
                  <a:schemeClr val="tx1"/>
                </a:solidFill>
                <a:cs typeface="B Nazanin" panose="00000400000000000000" pitchFamily="2" charset="-78"/>
              </a:rPr>
              <a:t>)</a:t>
            </a:r>
            <a:endParaRPr lang="en-US" sz="4400" dirty="0">
              <a:solidFill>
                <a:schemeClr val="tx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3</a:t>
            </a:fld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0678221"/>
              </p:ext>
            </p:extLst>
          </p:nvPr>
        </p:nvGraphicFramePr>
        <p:xfrm>
          <a:off x="2738465" y="2818431"/>
          <a:ext cx="6264255" cy="4018852"/>
        </p:xfrm>
        <a:graphic>
          <a:graphicData uri="http://schemas.openxmlformats.org/drawingml/2006/table">
            <a:tbl>
              <a:tblPr rtl="1" firstRow="1" firstCol="1" bandRow="1"/>
              <a:tblGrid>
                <a:gridCol w="51237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404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92849">
                <a:tc gridSpan="2"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1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rine Analysis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5317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b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EST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1592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marL="457200" indent="1270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Yellow         2) Dark yellow        3)Red       4) Brown        5) Dark brown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b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Color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5317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Clear            2) </a:t>
                      </a:r>
                      <a:r>
                        <a:rPr lang="en-US" sz="1000" b="1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emiclear</a:t>
                      </a: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          3)Turbid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b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ppearance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8771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Pos +          3) Pos++       4) Pos+++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ilirubin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0634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2                 3) 4                4) 8                 5)12 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Urobilinogen(mg/dl)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50634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Trace         3)  Pos +        4) Pos++         5)Pos+++           6)Pos++++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Ketone Bodies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94662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Pos +          3) Pos++ 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scorbic acid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1592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2) 50               3) 100            4)250             5)500                6)&gt;1000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lucose(mg/dl)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3356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2) Trace          3)  30             4) 100            5)500    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rotein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701268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2) Trace          3) Pos +        4) Pos++        5)Pos+++      </a:t>
                      </a:r>
                    </a:p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 Negative      2) 5-10           3)50              4)300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od/Hgb</a:t>
                      </a:r>
                    </a:p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lood/Ery/µl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5317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5                   2) 6                3) 6.5             4) 7                5) 8                 6)9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b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pH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5317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Pos +  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itrite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50634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) Negative       2) 25             3) 75              4) 500        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Leukocyte(leuko/ µl)</a:t>
                      </a:r>
                      <a:endParaRPr lang="en-US" sz="1000" b="1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71592"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rtl="1">
                        <a:lnSpc>
                          <a:spcPct val="107000"/>
                        </a:lnSpc>
                      </a:pPr>
                      <a:endParaRPr lang="en-US" sz="10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b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1pPr>
                      <a:lvl2pPr marL="609585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2pPr>
                      <a:lvl3pPr marL="1219170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3pPr>
                      <a:lvl4pPr marL="182875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4pPr>
                      <a:lvl5pPr marL="243833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5pPr>
                      <a:lvl6pPr marL="3047924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6pPr>
                      <a:lvl7pPr marL="3657509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7pPr>
                      <a:lvl8pPr marL="4267093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8pPr>
                      <a:lvl9pPr marL="4876678" algn="l" defTabSz="1219170" rtl="0" eaLnBrk="1" latinLnBrk="1" hangingPunct="1">
                        <a:defRPr sz="2400" kern="1200">
                          <a:solidFill>
                            <a:schemeClr val="tx1"/>
                          </a:solidFill>
                          <a:latin typeface="Microsoft Sans Serif"/>
                          <a:ea typeface=""/>
                          <a:cs typeface=""/>
                        </a:defRPr>
                      </a:lvl9pPr>
                    </a:lstStyle>
                    <a:p>
                      <a:pPr algn="ctr" rtl="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Specific Gravity</a:t>
                      </a:r>
                      <a:endParaRPr lang="en-US" sz="1000" b="1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8118" marR="48118" marT="0" marB="0" anchor="ctr">
                    <a:lnL w="12700" cmpd="sng">
                      <a:solidFill>
                        <a:srgbClr val="333333"/>
                      </a:solidFill>
                    </a:lnL>
                    <a:lnR w="12700" cmpd="sng">
                      <a:solidFill>
                        <a:srgbClr val="333333"/>
                      </a:solidFill>
                    </a:lnR>
                    <a:lnT w="12700" cmpd="sng">
                      <a:solidFill>
                        <a:srgbClr val="333333"/>
                      </a:solidFill>
                    </a:lnT>
                    <a:lnB w="12700" cmpd="sng">
                      <a:solidFill>
                        <a:srgbClr val="333333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sz="quarter" idx="10"/>
          </p:nvPr>
        </p:nvSpPr>
        <p:spPr>
          <a:xfrm>
            <a:off x="1199455" y="1216222"/>
            <a:ext cx="9342274" cy="1631956"/>
          </a:xfrm>
        </p:spPr>
        <p:txBody>
          <a:bodyPr/>
          <a:lstStyle/>
          <a:p>
            <a:pPr marL="0" indent="0">
              <a:buNone/>
            </a:pPr>
            <a:r>
              <a:rPr lang="fa-IR" sz="2800" b="1" dirty="0">
                <a:solidFill>
                  <a:srgbClr val="FF0000"/>
                </a:solidFill>
                <a:cs typeface="B Nazanin" panose="00000400000000000000" pitchFamily="2" charset="-78"/>
              </a:rPr>
              <a:t>لطفا به ترتیب تست ها روی قوطی های نوار ادرار توجه نمایید، سپس نتایج را در فرم زیر ثبت نمایید.</a:t>
            </a:r>
          </a:p>
          <a:p>
            <a:pPr marL="0" indent="0">
              <a:buNone/>
            </a:pPr>
            <a:r>
              <a:rPr lang="fa-IR" dirty="0" smtClean="0">
                <a:cs typeface="B Nazanin" panose="00000400000000000000" pitchFamily="2" charset="-78"/>
              </a:rPr>
              <a:t>کد </a:t>
            </a:r>
            <a:r>
              <a:rPr lang="fa-IR" dirty="0">
                <a:cs typeface="B Nazanin" panose="00000400000000000000" pitchFamily="2" charset="-78"/>
              </a:rPr>
              <a:t>فرد:                                              تاریخ:</a:t>
            </a:r>
            <a:endParaRPr lang="en-US" dirty="0"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29921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2" y="215468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آنالیز نمونه </a:t>
            </a:r>
            <a:r>
              <a:rPr lang="fa-IR" dirty="0" smtClean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ها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4</a:t>
            </a:fld>
            <a:endParaRPr lang="en-US" dirty="0"/>
          </a:p>
        </p:txBody>
      </p:sp>
      <p:pic>
        <p:nvPicPr>
          <p:cNvPr id="5" name="Picture 2" descr="L:\12\new\IMG_3572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942" b="5562"/>
          <a:stretch/>
        </p:blipFill>
        <p:spPr bwMode="auto">
          <a:xfrm>
            <a:off x="6796622" y="1466246"/>
            <a:ext cx="3243943" cy="26953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21354" r="4017" b="23876"/>
          <a:stretch/>
        </p:blipFill>
        <p:spPr>
          <a:xfrm>
            <a:off x="2428455" y="1408647"/>
            <a:ext cx="2770437" cy="2810517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27665" y="4581785"/>
            <a:ext cx="3031671" cy="202111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223268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8748" y="282964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prstClr val="black">
                    <a:lumMod val="50000"/>
                  </a:prst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آنالیز نمونه ها</a:t>
            </a:r>
            <a:endParaRPr lang="en-US" dirty="0"/>
          </a:p>
        </p:txBody>
      </p:sp>
      <p:pic>
        <p:nvPicPr>
          <p:cNvPr id="5" name="Content Placeholder 3"/>
          <p:cNvPicPr>
            <a:picLocks noGrp="1" noChangeAspect="1"/>
          </p:cNvPicPr>
          <p:nvPr>
            <p:ph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7821" y="193709"/>
            <a:ext cx="4612571" cy="3527132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5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4026" y="1407591"/>
            <a:ext cx="4489785" cy="329178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7663" y="2771987"/>
            <a:ext cx="4418315" cy="336985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66448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437" y="246608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B Nazanin" panose="00000400000000000000" pitchFamily="2" charset="-78"/>
              </a:rPr>
              <a:t>خطاهای احتمالی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533854"/>
            <a:ext cx="10619347" cy="4607984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fa-IR" dirty="0">
                <a:cs typeface="B Nazanin" panose="00000400000000000000" pitchFamily="2" charset="-78"/>
              </a:rPr>
              <a:t>پذیرش افراد مراجعه کننده </a:t>
            </a:r>
            <a:r>
              <a:rPr lang="fa-IR" dirty="0" smtClean="0">
                <a:cs typeface="B Nazanin" panose="00000400000000000000" pitchFamily="2" charset="-78"/>
              </a:rPr>
              <a:t>فقط با </a:t>
            </a:r>
            <a:r>
              <a:rPr lang="fa-IR" dirty="0">
                <a:cs typeface="B Nazanin" panose="00000400000000000000" pitchFamily="2" charset="-78"/>
              </a:rPr>
              <a:t>کارت </a:t>
            </a:r>
            <a:r>
              <a:rPr lang="fa-IR" dirty="0" smtClean="0">
                <a:cs typeface="B Nazanin" panose="00000400000000000000" pitchFamily="2" charset="-78"/>
              </a:rPr>
              <a:t>فرد</a:t>
            </a:r>
            <a:endParaRPr lang="fa-IR" dirty="0">
              <a:cs typeface="B Nazanin" panose="00000400000000000000" pitchFamily="2" charset="-78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fa-IR" dirty="0">
                <a:cs typeface="B Nazanin" panose="00000400000000000000" pitchFamily="2" charset="-78"/>
              </a:rPr>
              <a:t>استفاده از بسته فرد دیگر و لیبل </a:t>
            </a:r>
            <a:r>
              <a:rPr lang="fa-IR" dirty="0" smtClean="0">
                <a:cs typeface="B Nazanin" panose="00000400000000000000" pitchFamily="2" charset="-78"/>
              </a:rPr>
              <a:t>دستی</a:t>
            </a:r>
            <a:endParaRPr lang="fa-IR" dirty="0">
              <a:cs typeface="B Nazanin" panose="00000400000000000000" pitchFamily="2" charset="-78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fa-IR" dirty="0">
                <a:cs typeface="B Nazanin" panose="00000400000000000000" pitchFamily="2" charset="-78"/>
              </a:rPr>
              <a:t>حجم ناکافی </a:t>
            </a:r>
            <a:r>
              <a:rPr lang="fa-IR" dirty="0" smtClean="0">
                <a:cs typeface="B Nazanin" panose="00000400000000000000" pitchFamily="2" charset="-78"/>
              </a:rPr>
              <a:t>نمونه</a:t>
            </a:r>
            <a:endParaRPr lang="fa-IR" dirty="0">
              <a:cs typeface="B Nazanin" panose="00000400000000000000" pitchFamily="2" charset="-78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fa-IR" dirty="0">
                <a:cs typeface="B Nazanin" panose="00000400000000000000" pitchFamily="2" charset="-78"/>
              </a:rPr>
              <a:t>جابجایی نمونه ها در </a:t>
            </a:r>
            <a:r>
              <a:rPr lang="fa-IR" dirty="0" smtClean="0">
                <a:cs typeface="B Nazanin" panose="00000400000000000000" pitchFamily="2" charset="-78"/>
              </a:rPr>
              <a:t>لوله</a:t>
            </a:r>
            <a:endParaRPr lang="fa-IR" dirty="0">
              <a:cs typeface="B Nazanin" panose="00000400000000000000" pitchFamily="2" charset="-78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fa-IR" dirty="0">
                <a:cs typeface="B Nazanin" panose="00000400000000000000" pitchFamily="2" charset="-78"/>
              </a:rPr>
              <a:t>پر نکردن فرم ارسال </a:t>
            </a:r>
            <a:r>
              <a:rPr lang="fa-IR" dirty="0" smtClean="0">
                <a:cs typeface="B Nazanin" panose="00000400000000000000" pitchFamily="2" charset="-78"/>
              </a:rPr>
              <a:t>نمونه</a:t>
            </a:r>
            <a:endParaRPr lang="fa-IR" dirty="0">
              <a:cs typeface="B Nazanin" panose="00000400000000000000" pitchFamily="2" charset="-78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fa-IR" dirty="0">
                <a:cs typeface="B Nazanin" panose="00000400000000000000" pitchFamily="2" charset="-78"/>
              </a:rPr>
              <a:t>کامل پر نکردن فرم ارسال نمونه (فقط کد فرد یا فقط کد ملی...)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fa-IR" dirty="0">
                <a:cs typeface="B Nazanin" panose="00000400000000000000" pitchFamily="2" charset="-78"/>
              </a:rPr>
              <a:t>خونگیری فرد در بسته مربوط به فرد دیگر، بدون تماس و یا متذکر شدن در فرم </a:t>
            </a:r>
            <a:r>
              <a:rPr lang="fa-IR" dirty="0" smtClean="0">
                <a:cs typeface="B Nazanin" panose="00000400000000000000" pitchFamily="2" charset="-78"/>
              </a:rPr>
              <a:t>ارسالی</a:t>
            </a:r>
            <a:endParaRPr lang="fa-IR" dirty="0">
              <a:cs typeface="B Nazanin" panose="00000400000000000000" pitchFamily="2" charset="-78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6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716854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4437" y="246608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B Nazanin" panose="00000400000000000000" pitchFamily="2" charset="-78"/>
              </a:rPr>
              <a:t>خطاهای احتمالی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533854"/>
            <a:ext cx="10464800" cy="4607984"/>
          </a:xfrm>
        </p:spPr>
        <p:txBody>
          <a:bodyPr/>
          <a:lstStyle/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ننوشتن حجم ادرار 24 </a:t>
            </a:r>
            <a:r>
              <a:rPr lang="fa-IR" sz="28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ساعته</a:t>
            </a: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ارسال نکردن فرم ادرار 24 </a:t>
            </a:r>
            <a:r>
              <a:rPr lang="fa-IR" sz="28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ساعته</a:t>
            </a: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قرار دادن چند لوله با کدهای مختلف در یک </a:t>
            </a:r>
            <a:r>
              <a:rPr lang="fa-IR" sz="28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بسته</a:t>
            </a: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بسته بندی نادرست نمونه ها برای </a:t>
            </a:r>
            <a:r>
              <a:rPr lang="fa-IR" sz="28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ارسال</a:t>
            </a: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ارسال پلاسمای </a:t>
            </a:r>
            <a:r>
              <a:rPr lang="en-US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EDTA</a:t>
            </a: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 بجای پلاسمای سدیم </a:t>
            </a:r>
            <a:r>
              <a:rPr lang="fa-IR" sz="28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فلوراید</a:t>
            </a: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سانتریفیوژ کردن لوله و ارسال لوله بدون </a:t>
            </a:r>
            <a:r>
              <a:rPr lang="fa-IR" sz="28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جداسازی</a:t>
            </a: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ارسال لوله سدیم فلوراید بجای لوله </a:t>
            </a:r>
            <a:r>
              <a:rPr lang="en-US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EDTA</a:t>
            </a: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 برای خون </a:t>
            </a:r>
            <a:r>
              <a:rPr lang="fa-IR" sz="28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کامل</a:t>
            </a: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همخوانی نداشتن کد ملی و نام </a:t>
            </a:r>
            <a:r>
              <a:rPr lang="fa-IR" sz="28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فرد</a:t>
            </a: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2800" kern="0" dirty="0">
                <a:solidFill>
                  <a:srgbClr val="000000"/>
                </a:solidFill>
                <a:cs typeface="B Nazanin" panose="00000400000000000000" pitchFamily="2" charset="-78"/>
              </a:rPr>
              <a:t>خون گیری از افرادی که در پایگاه داده موجود </a:t>
            </a:r>
            <a:r>
              <a:rPr lang="fa-IR" sz="28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نیست</a:t>
            </a: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0" lvl="0" indent="0" defTabSz="914400" eaLnBrk="0" fontAlgn="base" latinLnBrk="0" hangingPunct="0">
              <a:spcAft>
                <a:spcPct val="0"/>
              </a:spcAft>
              <a:buNone/>
            </a:pP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0" lvl="0" indent="0" defTabSz="914400" eaLnBrk="0" fontAlgn="base" latinLnBrk="0" hangingPunct="0">
              <a:spcAft>
                <a:spcPct val="0"/>
              </a:spcAft>
              <a:buNone/>
            </a:pP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endParaRPr lang="fa-IR" sz="28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endParaRPr lang="fa-IR" sz="3600" kern="0" dirty="0">
              <a:solidFill>
                <a:srgbClr val="000000"/>
              </a:solidFill>
              <a:cs typeface="Arial"/>
            </a:endParaRP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endParaRPr lang="en-US" sz="3600" kern="0" dirty="0">
              <a:solidFill>
                <a:srgbClr val="000000"/>
              </a:solidFill>
              <a:cs typeface="Arial"/>
            </a:endParaRPr>
          </a:p>
          <a:p>
            <a:pPr marL="0" indent="0">
              <a:buNone/>
            </a:pP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7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2068884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5413" y="375396"/>
            <a:ext cx="10559819" cy="1035373"/>
          </a:xfrm>
        </p:spPr>
        <p:txBody>
          <a:bodyPr/>
          <a:lstStyle/>
          <a:p>
            <a:r>
              <a:rPr lang="fa-IR" sz="4400" b="0" kern="0" dirty="0">
                <a:solidFill>
                  <a:srgbClr val="000000"/>
                </a:solidFill>
                <a:cs typeface="B Nazanin" panose="00000400000000000000" pitchFamily="2" charset="-78"/>
              </a:rPr>
              <a:t>پیشنهادات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906276"/>
            <a:ext cx="10464800" cy="3168000"/>
          </a:xfrm>
        </p:spPr>
        <p:txBody>
          <a:bodyPr/>
          <a:lstStyle/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3600" kern="0" dirty="0">
                <a:solidFill>
                  <a:srgbClr val="000000"/>
                </a:solidFill>
                <a:cs typeface="B Nazanin" panose="00000400000000000000" pitchFamily="2" charset="-78"/>
              </a:rPr>
              <a:t>پیشنهاد می شود آزمایشگاه هایی برای نمونه گیری انتخاب شوند که در دسترسی به آنها برای شرکت کننده ها راحت تر باشد.</a:t>
            </a:r>
          </a:p>
          <a:p>
            <a:pPr marL="342900" lvl="0" indent="-342900" defTabSz="914400" eaLnBrk="0" fontAlgn="base" latinLnBrk="0" hangingPunct="0">
              <a:spcAft>
                <a:spcPct val="0"/>
              </a:spcAft>
              <a:buFontTx/>
              <a:buChar char="•"/>
            </a:pPr>
            <a:r>
              <a:rPr lang="fa-IR" sz="3600" kern="0" dirty="0">
                <a:solidFill>
                  <a:srgbClr val="000000"/>
                </a:solidFill>
                <a:cs typeface="B Nazanin" panose="00000400000000000000" pitchFamily="2" charset="-78"/>
              </a:rPr>
              <a:t>زمان مراجعه با توجه به نیاز شرکت کننده ها تعیین شود. (مثلا برای افراد کارمند این امکان فراهم شود که در روز تعطیل به </a:t>
            </a:r>
            <a:r>
              <a:rPr lang="fa-IR" sz="3600" kern="0" dirty="0" smtClean="0">
                <a:solidFill>
                  <a:srgbClr val="000000"/>
                </a:solidFill>
                <a:cs typeface="B Nazanin" panose="00000400000000000000" pitchFamily="2" charset="-78"/>
              </a:rPr>
              <a:t>آزمایشگاه </a:t>
            </a:r>
            <a:r>
              <a:rPr lang="fa-IR" sz="3600" kern="0" dirty="0">
                <a:solidFill>
                  <a:srgbClr val="000000"/>
                </a:solidFill>
                <a:cs typeface="B Nazanin" panose="00000400000000000000" pitchFamily="2" charset="-78"/>
              </a:rPr>
              <a:t>مراجعه کنند.)</a:t>
            </a:r>
            <a:endParaRPr lang="en-US" sz="3600" kern="0" dirty="0">
              <a:solidFill>
                <a:srgbClr val="000000"/>
              </a:solidFill>
              <a:cs typeface="B Nazanin" panose="00000400000000000000" pitchFamily="2" charset="-78"/>
            </a:endParaRPr>
          </a:p>
          <a:p>
            <a:pPr marL="0" indent="0">
              <a:buNone/>
            </a:pPr>
            <a:endParaRPr lang="en-US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8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879567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a-IR" dirty="0"/>
              <a:t>پرسش و پاسخ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59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85147" y="2084850"/>
            <a:ext cx="3739044" cy="373904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4367808" y="5157192"/>
            <a:ext cx="3168352" cy="66670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7" name="TextBox 6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812213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2686" y="89685"/>
            <a:ext cx="10559819" cy="1035373"/>
          </a:xfrm>
        </p:spPr>
        <p:txBody>
          <a:bodyPr/>
          <a:lstStyle/>
          <a:p>
            <a:r>
              <a:rPr lang="fa-IR" dirty="0" smtClean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cs typeface="B Nazanin" panose="00000400000000000000" pitchFamily="2" charset="-78"/>
              </a:rPr>
              <a:t>برچسب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7482625" y="1125058"/>
            <a:ext cx="4275398" cy="5016780"/>
          </a:xfrm>
        </p:spPr>
        <p:txBody>
          <a:bodyPr/>
          <a:lstStyle/>
          <a:p>
            <a:pPr marL="0" indent="0">
              <a:buNone/>
            </a:pPr>
            <a:r>
              <a:rPr lang="en-US" sz="2800" dirty="0">
                <a:cs typeface="B Nazanin" panose="00000400000000000000" pitchFamily="2" charset="-78"/>
              </a:rPr>
              <a:t> </a:t>
            </a:r>
            <a:r>
              <a:rPr lang="fa-IR" sz="2800" b="1" dirty="0">
                <a:cs typeface="B Nazanin" panose="00000400000000000000" pitchFamily="2" charset="-78"/>
              </a:rPr>
              <a:t>موارد عنوان شده در برچسب:</a:t>
            </a:r>
            <a:endParaRPr lang="en-US" sz="2800" b="1" dirty="0">
              <a:cs typeface="B Nazanin" panose="00000400000000000000" pitchFamily="2" charset="-78"/>
            </a:endParaRPr>
          </a:p>
          <a:p>
            <a:pPr indent="-365760"/>
            <a:endParaRPr lang="fa-IR" sz="2800" b="1" dirty="0">
              <a:cs typeface="B Nazanin" panose="00000400000000000000" pitchFamily="2" charset="-78"/>
            </a:endParaRPr>
          </a:p>
          <a:p>
            <a:pPr indent="-365760">
              <a:buFont typeface="Arial" panose="020B0604020202020204" pitchFamily="34" charset="0"/>
              <a:buChar char="•"/>
            </a:pPr>
            <a:r>
              <a:rPr lang="fa-IR" sz="2800" b="1" dirty="0">
                <a:cs typeface="B Nazanin" panose="00000400000000000000" pitchFamily="2" charset="-78"/>
              </a:rPr>
              <a:t>کد فرد</a:t>
            </a:r>
          </a:p>
          <a:p>
            <a:pPr indent="-365760">
              <a:buFont typeface="Arial" panose="020B0604020202020204" pitchFamily="34" charset="0"/>
              <a:buChar char="•"/>
            </a:pPr>
            <a:r>
              <a:rPr lang="fa-IR" sz="2800" b="1" dirty="0">
                <a:cs typeface="B Nazanin" panose="00000400000000000000" pitchFamily="2" charset="-78"/>
              </a:rPr>
              <a:t>نام استان</a:t>
            </a:r>
          </a:p>
          <a:p>
            <a:pPr indent="-365760">
              <a:buFont typeface="Arial" panose="020B0604020202020204" pitchFamily="34" charset="0"/>
              <a:buChar char="•"/>
            </a:pPr>
            <a:r>
              <a:rPr lang="fa-IR" sz="2800" b="1" dirty="0">
                <a:cs typeface="B Nazanin" panose="00000400000000000000" pitchFamily="2" charset="-78"/>
              </a:rPr>
              <a:t>نام شهرستان</a:t>
            </a:r>
          </a:p>
          <a:p>
            <a:pPr indent="-365760">
              <a:buFont typeface="Arial" panose="020B0604020202020204" pitchFamily="34" charset="0"/>
              <a:buChar char="•"/>
            </a:pPr>
            <a:r>
              <a:rPr lang="fa-IR" sz="2800" b="1" dirty="0">
                <a:cs typeface="B Nazanin" panose="00000400000000000000" pitchFamily="2" charset="-78"/>
              </a:rPr>
              <a:t>نوع نمونه</a:t>
            </a:r>
            <a:endParaRPr lang="en-US" sz="2800" b="1" dirty="0">
              <a:cs typeface="B Nazanin" panose="00000400000000000000" pitchFamily="2" charset="-78"/>
            </a:endParaRPr>
          </a:p>
          <a:p>
            <a:pPr indent="-365760">
              <a:buFont typeface="Arial" panose="020B0604020202020204" pitchFamily="34" charset="0"/>
              <a:buChar char="•"/>
            </a:pPr>
            <a:r>
              <a:rPr lang="fa-IR" sz="2800" b="1" dirty="0">
                <a:cs typeface="B Nazanin" panose="00000400000000000000" pitchFamily="2" charset="-78"/>
              </a:rPr>
              <a:t>بارکد</a:t>
            </a:r>
            <a:endParaRPr lang="en-US" sz="2800" b="1" dirty="0">
              <a:cs typeface="B Nazanin" panose="00000400000000000000" pitchFamily="2" charset="-78"/>
            </a:endParaRPr>
          </a:p>
          <a:p>
            <a:pPr>
              <a:buFont typeface="Arial" panose="020B0604020202020204" pitchFamily="34" charset="0"/>
              <a:buChar char="•"/>
            </a:pPr>
            <a:endParaRPr lang="en-US" sz="2800" dirty="0">
              <a:cs typeface="B Nazanin" panose="00000400000000000000" pitchFamily="2" charset="-78"/>
            </a:endParaRPr>
          </a:p>
          <a:p>
            <a:pPr marL="0" indent="0">
              <a:buClr>
                <a:schemeClr val="accent1"/>
              </a:buClr>
              <a:buNone/>
            </a:pPr>
            <a:r>
              <a:rPr lang="fa-IR" sz="2800" b="1" dirty="0">
                <a:cs typeface="B Nazanin" panose="00000400000000000000" pitchFamily="2" charset="-78"/>
              </a:rPr>
              <a:t>*تمام </a:t>
            </a:r>
            <a:r>
              <a:rPr lang="fa-IR" sz="2800" b="1" dirty="0" smtClean="0">
                <a:cs typeface="B Nazanin" panose="00000400000000000000" pitchFamily="2" charset="-78"/>
              </a:rPr>
              <a:t>لوازم ارسالی در بسته فردی باید </a:t>
            </a:r>
            <a:r>
              <a:rPr lang="fa-IR" sz="2800" b="1" dirty="0">
                <a:cs typeface="B Nazanin" panose="00000400000000000000" pitchFamily="2" charset="-78"/>
              </a:rPr>
              <a:t>دارای برچسب باشند.</a:t>
            </a:r>
          </a:p>
          <a:p>
            <a:pPr marL="0" indent="0">
              <a:buNone/>
            </a:pP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6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63" r="13751" b="12301"/>
          <a:stretch/>
        </p:blipFill>
        <p:spPr>
          <a:xfrm>
            <a:off x="2405667" y="1329456"/>
            <a:ext cx="2266682" cy="5016780"/>
          </a:xfrm>
          <a:prstGeom prst="rect">
            <a:avLst/>
          </a:prstGeom>
          <a:ln w="88900" cap="sq" cmpd="thickThin">
            <a:solidFill>
              <a:srgbClr val="000000"/>
            </a:solidFill>
            <a:prstDash val="solid"/>
            <a:miter lim="800000"/>
          </a:ln>
          <a:effectLst>
            <a:innerShdw blurRad="76200">
              <a:srgbClr val="000000"/>
            </a:innerShdw>
          </a:effectLst>
        </p:spPr>
      </p:pic>
      <p:sp>
        <p:nvSpPr>
          <p:cNvPr id="6" name="TextBox 5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42902828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1478" y="3861289"/>
            <a:ext cx="9409045" cy="711077"/>
          </a:xfrm>
        </p:spPr>
        <p:txBody>
          <a:bodyPr/>
          <a:lstStyle/>
          <a:p>
            <a:r>
              <a:rPr lang="fa-IR" dirty="0"/>
              <a:t>با تشکر از حسن توجه شما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1391478" y="4749529"/>
            <a:ext cx="9409045" cy="351300"/>
          </a:xfrm>
        </p:spPr>
        <p:txBody>
          <a:bodyPr/>
          <a:lstStyle/>
          <a:p>
            <a:r>
              <a:rPr lang="fa-IR" dirty="0" smtClean="0"/>
              <a:t>مرکز تحقیقات بیماری های غیرواگیر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60</a:t>
            </a:fld>
            <a:endParaRPr lang="en-US" dirty="0"/>
          </a:p>
        </p:txBody>
      </p:sp>
      <p:sp>
        <p:nvSpPr>
          <p:cNvPr id="5" name="TextBox 4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2744096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9456" y="204423"/>
            <a:ext cx="10559819" cy="1035373"/>
          </a:xfrm>
        </p:spPr>
        <p:txBody>
          <a:bodyPr/>
          <a:lstStyle/>
          <a:p>
            <a:r>
              <a:rPr lang="fa-IR" dirty="0">
                <a:solidFill>
                  <a:schemeClr val="tx1">
                    <a:lumMod val="50000"/>
                  </a:schemeClr>
                </a:solidFill>
                <a:cs typeface="B Nazanin" panose="00000400000000000000" pitchFamily="2" charset="-78"/>
              </a:rPr>
              <a:t>سایر لوازم ارسالی برای نمونه </a:t>
            </a:r>
            <a:r>
              <a:rPr lang="fa-IR" dirty="0" smtClean="0">
                <a:solidFill>
                  <a:schemeClr val="tx1">
                    <a:lumMod val="50000"/>
                  </a:schemeClr>
                </a:solidFill>
                <a:cs typeface="B Nazanin" panose="00000400000000000000" pitchFamily="2" charset="-78"/>
              </a:rPr>
              <a:t>گیر: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384038" y="1291394"/>
            <a:ext cx="10464800" cy="776393"/>
          </a:xfrm>
        </p:spPr>
        <p:txBody>
          <a:bodyPr/>
          <a:lstStyle/>
          <a:p>
            <a:pPr marL="0" indent="0">
              <a:buNone/>
            </a:pPr>
            <a:r>
              <a:rPr lang="fa-IR" dirty="0">
                <a:cs typeface="B Nazanin" panose="00000400000000000000" pitchFamily="2" charset="-78"/>
              </a:rPr>
              <a:t>علاوه بر بسته ارسالی فردی، موارد زیر در اختیار آزمایشگاه قرار خواهد گرفت</a:t>
            </a:r>
            <a:r>
              <a:rPr lang="fa-IR" dirty="0" smtClean="0">
                <a:cs typeface="B Nazanin" panose="00000400000000000000" pitchFamily="2" charset="-78"/>
              </a:rPr>
              <a:t>.</a:t>
            </a:r>
            <a:endParaRPr lang="en-US" dirty="0">
              <a:cs typeface="B Nazanin" panose="00000400000000000000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7</a:t>
            </a:fld>
            <a:endParaRPr lang="en-US" dirty="0"/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/>
          </p:nvPr>
        </p:nvGraphicFramePr>
        <p:xfrm>
          <a:off x="4296806" y="2179267"/>
          <a:ext cx="7250805" cy="3066258"/>
        </p:xfrm>
        <a:graphic>
          <a:graphicData uri="http://schemas.openxmlformats.org/drawingml/2006/table">
            <a:tbl>
              <a:tblPr rtl="1" firstRow="1" firstCol="1" bandRow="1"/>
              <a:tblGrid>
                <a:gridCol w="5156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086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265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7809"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800" b="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ردیف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800" b="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وسایل مورد نیاز 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800" b="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تعداد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120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800" b="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</a:t>
                      </a:r>
                      <a:endParaRPr lang="en-US" sz="1800" b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800" b="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سوزن</a:t>
                      </a:r>
                      <a:r>
                        <a:rPr lang="en-US" sz="1800" b="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21 </a:t>
                      </a:r>
                      <a:r>
                        <a:rPr lang="en-US" sz="1800" b="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G</a:t>
                      </a:r>
                      <a:r>
                        <a:rPr lang="en-US" sz="1800" b="0" kern="1200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800" b="0" kern="1200" dirty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مخصوص لوله های </a:t>
                      </a:r>
                      <a:r>
                        <a:rPr lang="ar-SA" sz="1800" b="0" kern="1200" dirty="0" smtClean="0">
                          <a:solidFill>
                            <a:srgbClr val="000000"/>
                          </a:solidFill>
                          <a:effectLst/>
                          <a:latin typeface="B Nazanin" panose="00000400000000000000" pitchFamily="2" charset="-78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خلاء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800" b="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/1 برابر تعداد </a:t>
                      </a:r>
                      <a:r>
                        <a:rPr lang="fa-IR" sz="1800" b="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افراد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120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800" b="0" kern="12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2</a:t>
                      </a:r>
                      <a:endParaRPr lang="en-US" sz="1800" b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800" b="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هولدر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800" b="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2 عدد به ازای هر نمونه گیر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120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3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گارو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1" eaLnBrk="1" fontAlgn="auto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ar-SA" sz="1800" b="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2 عدد به ازای هر نمونه گیر</a:t>
                      </a:r>
                      <a:endParaRPr lang="en-US" sz="1800" b="0" dirty="0" smtClean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9120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4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ar-SA" sz="1800" b="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سر </a:t>
                      </a:r>
                      <a:r>
                        <a:rPr lang="ar-SA" sz="1800" b="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سمپلر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3</a:t>
                      </a:r>
                      <a:r>
                        <a:rPr lang="ar-SA" sz="1800" b="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 </a:t>
                      </a:r>
                      <a:r>
                        <a:rPr lang="ar-SA" sz="1800" b="0" kern="12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عدد به ازای هر </a:t>
                      </a:r>
                      <a:r>
                        <a:rPr lang="fa-IR" sz="1800" b="0" kern="12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فرد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120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5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نوار ادرار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 به ازای هر فرد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9120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6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چسب زخم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219170" rtl="1" eaLnBrk="1" fontAlgn="auto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 به ازای هر فرد</a:t>
                      </a:r>
                      <a:endParaRPr lang="en-US" sz="1800" b="0" dirty="0" smtClean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9428177"/>
                  </a:ext>
                </a:extLst>
              </a:tr>
              <a:tr h="391207">
                <a:tc>
                  <a:txBody>
                    <a:bodyPr/>
                    <a:lstStyle/>
                    <a:p>
                      <a:pPr marL="0" marR="0" algn="ct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7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 rt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پد الکلی</a:t>
                      </a:r>
                      <a:endParaRPr lang="en-US" sz="1800" b="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1219170" rtl="1" eaLnBrk="1" fontAlgn="auto" latinLnBrk="1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a-IR" sz="1800" b="0" dirty="0" smtClean="0"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B Nazanin" panose="00000400000000000000" pitchFamily="2" charset="-78"/>
                        </a:rPr>
                        <a:t>1 عدد به ازای هر فرد</a:t>
                      </a:r>
                      <a:endParaRPr lang="en-US" sz="1800" b="0" dirty="0" smtClean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B Nazanin" panose="00000400000000000000" pitchFamily="2" charset="-78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2893968"/>
                  </a:ext>
                </a:extLst>
              </a:tr>
            </a:tbl>
          </a:graphicData>
        </a:graphic>
      </p:graphicFrame>
      <p:pic>
        <p:nvPicPr>
          <p:cNvPr id="6" name="Content Placeholder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34247" y="4610658"/>
            <a:ext cx="1486113" cy="1486113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7AA1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458" y="1557691"/>
            <a:ext cx="2323610" cy="157230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6167467" y="5503577"/>
            <a:ext cx="1232484" cy="123248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9456" y="3038349"/>
            <a:ext cx="1714924" cy="161202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05931" y="5560836"/>
            <a:ext cx="1329173" cy="1166480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50" name="Picture 2" descr="چسب تزریق گرد - پخش پزشکی حامی طب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4843" y="5167080"/>
            <a:ext cx="1444105" cy="1444105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پد الکلی استریل بسته ۱۰۰ عددی – medital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19412" y="5398781"/>
            <a:ext cx="1442075" cy="1442075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699977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7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7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25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3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54997" y="360988"/>
            <a:ext cx="10559819" cy="1035373"/>
          </a:xfrm>
        </p:spPr>
        <p:txBody>
          <a:bodyPr/>
          <a:lstStyle/>
          <a:p>
            <a:r>
              <a:rPr lang="fa-IR" sz="36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وسایل جانبی که انتظار می رود در محل نمونه گیری آزمایشگاه های منتخب شهرستان ها </a:t>
            </a:r>
            <a:r>
              <a:rPr lang="fa-IR" sz="40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موجود</a:t>
            </a:r>
            <a:r>
              <a:rPr lang="fa-IR" sz="36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 باشد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043189" y="1670354"/>
            <a:ext cx="10971627" cy="1200331"/>
          </a:xfrm>
        </p:spPr>
        <p:txBody>
          <a:bodyPr/>
          <a:lstStyle/>
          <a:p>
            <a:pPr marL="0" lvl="0" indent="0" algn="just">
              <a:buNone/>
            </a:pP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صندلی نمونه‌گیری،</a:t>
            </a:r>
            <a:r>
              <a:rPr lang="fa-IR" sz="2800" dirty="0">
                <a:latin typeface="Titr" panose="00000700000000000000" pitchFamily="2" charset="-78"/>
                <a:cs typeface="B Nazanin" panose="00000400000000000000" pitchFamily="2" charset="-78"/>
              </a:rPr>
              <a:t> تخت، </a:t>
            </a: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روپوش آزمایشگاه، دستكش</a:t>
            </a:r>
            <a:r>
              <a:rPr lang="fa-IR" sz="2800" dirty="0">
                <a:latin typeface="Titr" panose="00000700000000000000" pitchFamily="2" charset="-78"/>
                <a:cs typeface="B Nazanin" panose="00000400000000000000" pitchFamily="2" charset="-78"/>
              </a:rPr>
              <a:t>، </a:t>
            </a:r>
            <a:r>
              <a:rPr lang="ar-SA" sz="2800" dirty="0" smtClean="0">
                <a:latin typeface="Titr" panose="00000700000000000000" pitchFamily="2" charset="-78"/>
                <a:cs typeface="B Nazanin" panose="00000400000000000000" pitchFamily="2" charset="-78"/>
              </a:rPr>
              <a:t>اتیل </a:t>
            </a: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الكل 70 </a:t>
            </a:r>
            <a:r>
              <a:rPr lang="ar-SA" sz="2800" dirty="0" smtClean="0">
                <a:latin typeface="Titr" panose="00000700000000000000" pitchFamily="2" charset="-78"/>
                <a:cs typeface="B Nazanin" panose="00000400000000000000" pitchFamily="2" charset="-78"/>
              </a:rPr>
              <a:t>درصد،</a:t>
            </a:r>
            <a:r>
              <a:rPr lang="fa-IR" sz="2800" dirty="0" smtClean="0">
                <a:latin typeface="Titr" panose="00000700000000000000" pitchFamily="2" charset="-78"/>
                <a:cs typeface="B Nazanin" panose="00000400000000000000" pitchFamily="2" charset="-78"/>
              </a:rPr>
              <a:t> </a:t>
            </a:r>
            <a:r>
              <a:rPr lang="ar-SA" sz="2800" dirty="0" smtClean="0">
                <a:latin typeface="Titr" panose="00000700000000000000" pitchFamily="2" charset="-78"/>
                <a:cs typeface="B Nazanin" panose="00000400000000000000" pitchFamily="2" charset="-78"/>
              </a:rPr>
              <a:t>ظروف </a:t>
            </a: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مخصوص دفع سرسوزن</a:t>
            </a:r>
            <a:r>
              <a:rPr lang="en-US" sz="2800" dirty="0">
                <a:latin typeface="Titr" panose="00000700000000000000" pitchFamily="2" charset="-78"/>
                <a:cs typeface="B Nazanin" panose="00000400000000000000" pitchFamily="2" charset="-78"/>
              </a:rPr>
              <a:t>‌</a:t>
            </a: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های آلوده </a:t>
            </a:r>
            <a:r>
              <a:rPr lang="en-US" sz="2400" dirty="0">
                <a:latin typeface="Times New Roman" panose="02020503050405090304" pitchFamily="18" charset="0"/>
              </a:rPr>
              <a:t>(Safety Box</a:t>
            </a:r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fa-IR" sz="2400" dirty="0">
                <a:latin typeface="Titr" panose="00000700000000000000" pitchFamily="2" charset="-78"/>
              </a:rPr>
              <a:t> </a:t>
            </a:r>
            <a:r>
              <a:rPr lang="fa-IR" sz="2800" dirty="0">
                <a:latin typeface="Titr" panose="00000700000000000000" pitchFamily="2" charset="-78"/>
                <a:cs typeface="B Nazanin" panose="00000400000000000000" pitchFamily="2" charset="-78"/>
              </a:rPr>
              <a:t>و فشار </a:t>
            </a:r>
            <a:r>
              <a:rPr lang="fa-IR" sz="2800" dirty="0" smtClean="0">
                <a:latin typeface="Titr" panose="00000700000000000000" pitchFamily="2" charset="-78"/>
                <a:cs typeface="B Nazanin" panose="00000400000000000000" pitchFamily="2" charset="-78"/>
              </a:rPr>
              <a:t>سنج</a:t>
            </a:r>
            <a:endParaRPr lang="en-US" sz="2800" dirty="0">
              <a:latin typeface="Titr" panose="00000700000000000000" pitchFamily="2" charset="-78"/>
              <a:cs typeface="B Nazanin" panose="00000400000000000000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8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6256" y="3707688"/>
            <a:ext cx="1873224" cy="1330975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3456" y="4629927"/>
            <a:ext cx="1921302" cy="139629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5" r="17666"/>
          <a:stretch/>
        </p:blipFill>
        <p:spPr>
          <a:xfrm>
            <a:off x="5388734" y="3553048"/>
            <a:ext cx="1081826" cy="164665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4536" y="4451216"/>
            <a:ext cx="1067312" cy="1575007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0695" y="4373177"/>
            <a:ext cx="1108848" cy="1653046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1983" y="3675029"/>
            <a:ext cx="1494720" cy="1341415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084" b="16683"/>
          <a:stretch/>
        </p:blipFill>
        <p:spPr>
          <a:xfrm>
            <a:off x="7724288" y="3675029"/>
            <a:ext cx="963967" cy="1396295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3781797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94962" y="298428"/>
            <a:ext cx="10559819" cy="1035373"/>
          </a:xfrm>
        </p:spPr>
        <p:txBody>
          <a:bodyPr/>
          <a:lstStyle/>
          <a:p>
            <a:r>
              <a:rPr lang="fa-IR" sz="3600" dirty="0">
                <a:solidFill>
                  <a:schemeClr val="tx1">
                    <a:lumMod val="50000"/>
                  </a:schemeClr>
                </a:solidFill>
                <a:latin typeface="Titr" panose="00000700000000000000" pitchFamily="2" charset="-78"/>
                <a:ea typeface="Times New Roman" panose="02020603050405020304" pitchFamily="18" charset="0"/>
                <a:cs typeface="B Nazanin" panose="00000400000000000000" pitchFamily="2" charset="-78"/>
              </a:rPr>
              <a:t>وسایل جانبی که انتظار می رود در محل نمونه گیری آزمایشگاه های منتخب شهرستان ها موجود باشد</a:t>
            </a:r>
            <a:endParaRPr lang="en-US" sz="36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1199456" y="1481088"/>
            <a:ext cx="10660306" cy="1408832"/>
          </a:xfrm>
        </p:spPr>
        <p:txBody>
          <a:bodyPr/>
          <a:lstStyle/>
          <a:p>
            <a:pPr marL="0" lvl="0" indent="0">
              <a:buNone/>
            </a:pP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تمامی تجهیزات آزمایشگاهی مورد نیاز برای انجام این مطالعه اعم از یخچال، سانتریفیوژ </a:t>
            </a:r>
            <a:r>
              <a:rPr lang="fa-IR" sz="2800" dirty="0">
                <a:latin typeface="Titr" panose="00000700000000000000" pitchFamily="2" charset="-78"/>
                <a:cs typeface="B Nazanin" panose="00000400000000000000" pitchFamily="2" charset="-78"/>
              </a:rPr>
              <a:t>(ترجیحا </a:t>
            </a: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یخچال‌دار</a:t>
            </a:r>
            <a:r>
              <a:rPr lang="fa-IR" sz="2800" dirty="0">
                <a:latin typeface="Titr" panose="00000700000000000000" pitchFamily="2" charset="-78"/>
                <a:cs typeface="B Nazanin" panose="00000400000000000000" pitchFamily="2" charset="-78"/>
              </a:rPr>
              <a:t>)</a:t>
            </a: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، هود بیولوژیکی،</a:t>
            </a:r>
            <a:r>
              <a:rPr lang="fa-IR" sz="2800" dirty="0">
                <a:latin typeface="Titr" panose="00000700000000000000" pitchFamily="2" charset="-78"/>
                <a:cs typeface="B Nazanin" panose="00000400000000000000" pitchFamily="2" charset="-78"/>
              </a:rPr>
              <a:t> </a:t>
            </a: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اتوکلاو</a:t>
            </a:r>
            <a:r>
              <a:rPr lang="fa-IR" sz="2800" dirty="0">
                <a:latin typeface="Titr" panose="00000700000000000000" pitchFamily="2" charset="-78"/>
                <a:cs typeface="B Nazanin" panose="00000400000000000000" pitchFamily="2" charset="-78"/>
              </a:rPr>
              <a:t>، </a:t>
            </a: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سمپلر</a:t>
            </a:r>
            <a:r>
              <a:rPr lang="fa-IR" sz="2800" dirty="0">
                <a:latin typeface="Titr" panose="00000700000000000000" pitchFamily="2" charset="-78"/>
                <a:cs typeface="B Nazanin" panose="00000400000000000000" pitchFamily="2" charset="-78"/>
              </a:rPr>
              <a:t> </a:t>
            </a:r>
            <a:r>
              <a:rPr lang="ar-SA" sz="2800" dirty="0">
                <a:latin typeface="Titr" panose="00000700000000000000" pitchFamily="2" charset="-78"/>
                <a:cs typeface="B Nazanin" panose="00000400000000000000" pitchFamily="2" charset="-78"/>
              </a:rPr>
              <a:t>1000 میکرولیتر</a:t>
            </a:r>
            <a:r>
              <a:rPr lang="fa-IR" sz="2800" dirty="0">
                <a:latin typeface="Titr" panose="00000700000000000000" pitchFamily="2" charset="-78"/>
                <a:cs typeface="B Nazanin" panose="00000400000000000000" pitchFamily="2" charset="-78"/>
              </a:rPr>
              <a:t> و پایه </a:t>
            </a:r>
            <a:r>
              <a:rPr lang="fa-IR" sz="2800" dirty="0" smtClean="0">
                <a:latin typeface="Titr" panose="00000700000000000000" pitchFamily="2" charset="-78"/>
                <a:cs typeface="B Nazanin" panose="00000400000000000000" pitchFamily="2" charset="-78"/>
              </a:rPr>
              <a:t>سمپلر</a:t>
            </a:r>
            <a:endParaRPr lang="en-US" sz="2800" dirty="0">
              <a:latin typeface="Titr" panose="00000700000000000000" pitchFamily="2" charset="-78"/>
              <a:cs typeface="B Nazanin" panose="00000400000000000000" pitchFamily="2" charset="-78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766878-3199-4EAB-94E7-2D6D11070E14}" type="slidenum">
              <a:rPr lang="en-US" smtClean="0"/>
              <a:t>9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944" y="2636815"/>
            <a:ext cx="2090763" cy="2060723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4759" y="2925725"/>
            <a:ext cx="2121353" cy="356873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7164" y="2925725"/>
            <a:ext cx="2537147" cy="356873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91413" y="4761418"/>
            <a:ext cx="2112294" cy="173304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10162907" y="6424620"/>
            <a:ext cx="10972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a-IR" sz="1400" dirty="0" smtClean="0">
                <a:cs typeface="B Nazanin" panose="00000400000000000000" pitchFamily="2" charset="-78"/>
              </a:rPr>
              <a:t>ویلما کاظمی</a:t>
            </a:r>
            <a:endParaRPr lang="en-US" sz="1400" dirty="0">
              <a:cs typeface="B Nazanin" panose="00000400000000000000" pitchFamily="2" charset="-78"/>
            </a:endParaRPr>
          </a:p>
        </p:txBody>
      </p:sp>
    </p:spTree>
    <p:extLst>
      <p:ext uri="{BB962C8B-B14F-4D97-AF65-F5344CB8AC3E}">
        <p14:creationId xmlns:p14="http://schemas.microsoft.com/office/powerpoint/2010/main" val="1953262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Contents Slide Master">
  <a:themeElements>
    <a:clrScheme name="Custom 2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F497D"/>
      </a:accent1>
      <a:accent2>
        <a:srgbClr val="1F497D"/>
      </a:accent2>
      <a:accent3>
        <a:srgbClr val="06696C"/>
      </a:accent3>
      <a:accent4>
        <a:srgbClr val="099DA2"/>
      </a:accent4>
      <a:accent5>
        <a:srgbClr val="099DA2"/>
      </a:accent5>
      <a:accent6>
        <a:srgbClr val="0DD2D9"/>
      </a:accent6>
      <a:hlink>
        <a:srgbClr val="000000"/>
      </a:hlink>
      <a:folHlink>
        <a:srgbClr val="000000"/>
      </a:folHlink>
    </a:clrScheme>
    <a:fontScheme name="Custom 1">
      <a:majorFont>
        <a:latin typeface="Arial"/>
        <a:ea typeface="Arial Unicode MS"/>
        <a:cs typeface="B Titr"/>
      </a:majorFont>
      <a:minorFont>
        <a:latin typeface="Arial"/>
        <a:ea typeface="Arial Unicode MS"/>
        <a:cs typeface="B Yeka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DD2D9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6</TotalTime>
  <Words>5049</Words>
  <Application>Microsoft Office PowerPoint</Application>
  <PresentationFormat>Widescreen</PresentationFormat>
  <Paragraphs>850</Paragraphs>
  <Slides>6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0</vt:i4>
      </vt:variant>
    </vt:vector>
  </HeadingPairs>
  <TitlesOfParts>
    <vt:vector size="80" baseType="lpstr">
      <vt:lpstr>맑은 고딕</vt:lpstr>
      <vt:lpstr>Arial</vt:lpstr>
      <vt:lpstr>Arial Unicode MS</vt:lpstr>
      <vt:lpstr>B Mitra</vt:lpstr>
      <vt:lpstr>B Mitra,Bold</vt:lpstr>
      <vt:lpstr>B Nazanin</vt:lpstr>
      <vt:lpstr>B Titr</vt:lpstr>
      <vt:lpstr>B Yekan</vt:lpstr>
      <vt:lpstr>Calibri</vt:lpstr>
      <vt:lpstr>Cambria</vt:lpstr>
      <vt:lpstr>Courier New</vt:lpstr>
      <vt:lpstr>Microsoft Sans Serif</vt:lpstr>
      <vt:lpstr>Symbol</vt:lpstr>
      <vt:lpstr>Tahoma</vt:lpstr>
      <vt:lpstr>Times New Roman</vt:lpstr>
      <vt:lpstr>Titr</vt:lpstr>
      <vt:lpstr>Wingdings</vt:lpstr>
      <vt:lpstr>ذ دشظ</vt:lpstr>
      <vt:lpstr>1_Contents Slide Master</vt:lpstr>
      <vt:lpstr>think-cell Slide</vt:lpstr>
      <vt:lpstr>بخش آزمایشگاه پیمایش ملی بیماری های غیرواگیر(STEPS)</vt:lpstr>
      <vt:lpstr>فرآیند گام سوم مطالعه</vt:lpstr>
      <vt:lpstr>اطلاع رسانی قبل از شروع نمونه گیری</vt:lpstr>
      <vt:lpstr>وسایل لازم نمونه گیری</vt:lpstr>
      <vt:lpstr>بسته طراحی شده فردی</vt:lpstr>
      <vt:lpstr>برچسب</vt:lpstr>
      <vt:lpstr>سایر لوازم ارسالی برای نمونه گیر:</vt:lpstr>
      <vt:lpstr>وسایل جانبی که انتظار می رود در محل نمونه گیری آزمایشگاه های منتخب شهرستان ها موجود باشد</vt:lpstr>
      <vt:lpstr>وسایل جانبی که انتظار می رود در محل نمونه گیری آزمایشگاه های منتخب شهرستان ها موجود باشد</vt:lpstr>
      <vt:lpstr>وسایل جانبی که انتظار می رود در محل نمونه گیری روستا موجود باشد</vt:lpstr>
      <vt:lpstr>مراحل انجام نمونه‌گیری</vt:lpstr>
      <vt:lpstr>نکات پیش از خونگیری</vt:lpstr>
      <vt:lpstr>نکات پیش از خونگیری</vt:lpstr>
      <vt:lpstr>شرکت کننده محترم موظف است:</vt:lpstr>
      <vt:lpstr>مسئول پذیرش موظف است:</vt:lpstr>
      <vt:lpstr>مسئول پذیرش موظف است</vt:lpstr>
      <vt:lpstr>مسئول پذیرش موظف است:</vt:lpstr>
      <vt:lpstr>نمونه‌گیر موظف است:</vt:lpstr>
      <vt:lpstr>نمونه‌گیر موظف است: </vt:lpstr>
      <vt:lpstr>نمونه‌گیر موظف است:</vt:lpstr>
      <vt:lpstr>نمونه‌گیر موظف است:</vt:lpstr>
      <vt:lpstr>PowerPoint Presentation</vt:lpstr>
      <vt:lpstr>نمونه خون کامل (Whole Blood)</vt:lpstr>
      <vt:lpstr>حجم کلی نمونه های جمع آوری شده</vt:lpstr>
      <vt:lpstr>PowerPoint Presentation</vt:lpstr>
      <vt:lpstr>جداسازی نمونه پلاسما سدیم فلوراید</vt:lpstr>
      <vt:lpstr>جداسازی نمونه پلاسما سدیم فلوراید</vt:lpstr>
      <vt:lpstr>جداسازی نمونه پلاسما سدیم فلوراید</vt:lpstr>
      <vt:lpstr>جداسازی نمونه سرم خون</vt:lpstr>
      <vt:lpstr>جداسازی نمونه سرم خون</vt:lpstr>
      <vt:lpstr>جداسازی نمونه سرم خون</vt:lpstr>
      <vt:lpstr>تبدیلg   به دور در دقیقه</vt:lpstr>
      <vt:lpstr>نمونه‌گیری ادرار</vt:lpstr>
      <vt:lpstr>وسایل مورد نیاز برای نمونه گیری ادرار</vt:lpstr>
      <vt:lpstr>دستور العمل الیکوت کردن ادرار در شهرستان</vt:lpstr>
      <vt:lpstr>دستور العمل الیکوت کردن ادرار در شهرستان </vt:lpstr>
      <vt:lpstr>دستور العمل الیکوت کردن ادرار در شهرستان</vt:lpstr>
      <vt:lpstr>دستورالعمل نمونه‌گیری ادرار 24 ساعته</vt:lpstr>
      <vt:lpstr>وسایل مورد نیاز برای جمع آوری ادرار 24 ساعته</vt:lpstr>
      <vt:lpstr>نمونه گیری خون در روستا و انتقال نمونه به آزمایشگاه منتخب شهرستان</vt:lpstr>
      <vt:lpstr>نکته: کارشناس محترم آزمایشگاه حتما قبل از انجام پذیرش باید به اینترنت متصل شود و همگام سازی را انجام دهد؛ همچنین قبل از انتقال تبلت ها به روستا ها برای پذیرش باید هرروز در شهر تبلت به اینترنت متصل شود و همگام سازی انجام شود سپس تبلت به روستا تحویل داده  شود.</vt:lpstr>
      <vt:lpstr>بسته ارسالی از شهرستان (بسته برگشت)</vt:lpstr>
      <vt:lpstr>نگهداري موقتی و ارسال نمونه‌ها</vt:lpstr>
      <vt:lpstr>فرم ها</vt:lpstr>
      <vt:lpstr>برگه آمادگی فرد</vt:lpstr>
      <vt:lpstr>فرم خون گیری (شماره 1 کاغذی)</vt:lpstr>
      <vt:lpstr>فرم خون گیری (تبلت)</vt:lpstr>
      <vt:lpstr>فرم جداسازی (شماره 2 کاغذی)</vt:lpstr>
      <vt:lpstr>فرم جداسازی نمونه سرم و پلاسما بیوشیمی (تبلت)</vt:lpstr>
      <vt:lpstr>فرم ثبت مشخصات افراد ارسال کننده و افراد شرکت کننده (شماره 3 کاغذی)</vt:lpstr>
      <vt:lpstr>فرم نمونه‌گیری ادرار 24 ساعته(شماره 4 کاغذی)</vt:lpstr>
      <vt:lpstr>فرم ثبت نتایج آزمایش های شیمیایی ادرار(فرم کاغذی شماره 5)</vt:lpstr>
      <vt:lpstr>فرم ثبت نتایج آزمایش های شیمیایی ادرار 24 ساعته(فرم کاغذی شماره 6)</vt:lpstr>
      <vt:lpstr>آنالیز نمونه ها</vt:lpstr>
      <vt:lpstr>آنالیز نمونه ها</vt:lpstr>
      <vt:lpstr>خطاهای احتمالی</vt:lpstr>
      <vt:lpstr>خطاهای احتمالی</vt:lpstr>
      <vt:lpstr>پیشنهادات</vt:lpstr>
      <vt:lpstr>پرسش و پاسخ</vt:lpstr>
      <vt:lpstr>با تشکر از حسن توجه شما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Fatemeh Gorgani</dc:creator>
  <cp:lastModifiedBy>Vilma Kazemi</cp:lastModifiedBy>
  <cp:revision>84</cp:revision>
  <dcterms:created xsi:type="dcterms:W3CDTF">2019-12-23T13:49:51Z</dcterms:created>
  <dcterms:modified xsi:type="dcterms:W3CDTF">2021-01-09T04:44:07Z</dcterms:modified>
</cp:coreProperties>
</file>